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media/image3.bin" ContentType="image/unknown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8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7" r:id="rId2"/>
    <p:sldMasterId id="2147483710" r:id="rId3"/>
    <p:sldMasterId id="2147483725" r:id="rId4"/>
    <p:sldMasterId id="2147483753" r:id="rId5"/>
    <p:sldMasterId id="2147483777" r:id="rId6"/>
    <p:sldMasterId id="2147483802" r:id="rId7"/>
    <p:sldMasterId id="2147483826" r:id="rId8"/>
    <p:sldMasterId id="2147483849" r:id="rId9"/>
  </p:sldMasterIdLst>
  <p:notesMasterIdLst>
    <p:notesMasterId r:id="rId56"/>
  </p:notesMasterIdLst>
  <p:sldIdLst>
    <p:sldId id="2147482743" r:id="rId10"/>
    <p:sldId id="2147482718" r:id="rId11"/>
    <p:sldId id="2134807274" r:id="rId12"/>
    <p:sldId id="2147482719" r:id="rId13"/>
    <p:sldId id="2147482720" r:id="rId14"/>
    <p:sldId id="2147482721" r:id="rId15"/>
    <p:sldId id="2147482705" r:id="rId16"/>
    <p:sldId id="2147482702" r:id="rId17"/>
    <p:sldId id="2147482480" r:id="rId18"/>
    <p:sldId id="2147482481" r:id="rId19"/>
    <p:sldId id="2147482482" r:id="rId20"/>
    <p:sldId id="2147482483" r:id="rId21"/>
    <p:sldId id="2147482484" r:id="rId22"/>
    <p:sldId id="2147482485" r:id="rId23"/>
    <p:sldId id="2147482486" r:id="rId24"/>
    <p:sldId id="2147482724" r:id="rId25"/>
    <p:sldId id="2147482489" r:id="rId26"/>
    <p:sldId id="2147482744" r:id="rId27"/>
    <p:sldId id="2147482745" r:id="rId28"/>
    <p:sldId id="2147482746" r:id="rId29"/>
    <p:sldId id="2147482747" r:id="rId30"/>
    <p:sldId id="2147482748" r:id="rId31"/>
    <p:sldId id="2147482490" r:id="rId32"/>
    <p:sldId id="2147482749" r:id="rId33"/>
    <p:sldId id="2147482727" r:id="rId34"/>
    <p:sldId id="2147482494" r:id="rId35"/>
    <p:sldId id="2147482750" r:id="rId36"/>
    <p:sldId id="2147482751" r:id="rId37"/>
    <p:sldId id="2147482752" r:id="rId38"/>
    <p:sldId id="2147482753" r:id="rId39"/>
    <p:sldId id="2147482754" r:id="rId40"/>
    <p:sldId id="2147482733" r:id="rId41"/>
    <p:sldId id="2147482734" r:id="rId42"/>
    <p:sldId id="2147482735" r:id="rId43"/>
    <p:sldId id="2147482736" r:id="rId44"/>
    <p:sldId id="2147482717" r:id="rId45"/>
    <p:sldId id="2147482495" r:id="rId46"/>
    <p:sldId id="2147482755" r:id="rId47"/>
    <p:sldId id="2147482759" r:id="rId48"/>
    <p:sldId id="2147482758" r:id="rId49"/>
    <p:sldId id="2147482757" r:id="rId50"/>
    <p:sldId id="2147482756" r:id="rId51"/>
    <p:sldId id="2147482742" r:id="rId52"/>
    <p:sldId id="2147482722" r:id="rId53"/>
    <p:sldId id="2147482628" r:id="rId54"/>
    <p:sldId id="2147482634" r:id="rId55"/>
  </p:sldIdLst>
  <p:sldSz cx="9144000" cy="6858000" type="screen4x3"/>
  <p:notesSz cx="6858000" cy="9144000"/>
  <p:embeddedFontLst>
    <p:embeddedFont>
      <p:font typeface="Dosis SemiBold" panose="020B0604020202020204" charset="0"/>
      <p:bold r:id="rId57"/>
    </p:embeddedFont>
    <p:embeddedFont>
      <p:font typeface="Modern Love" panose="020B0604020202020204" charset="0"/>
      <p:regular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  <p:embeddedFont>
      <p:font typeface="Dosis" panose="020B0604020202020204" charset="0"/>
      <p:regular r:id="rId63"/>
      <p:bold r:id="rId64"/>
    </p:embeddedFont>
    <p:embeddedFont>
      <p:font typeface="Calibri Light" panose="020F0302020204030204" pitchFamily="34" charset="0"/>
      <p:regular r:id="rId65"/>
      <p:italic r:id="rId66"/>
    </p:embeddedFont>
    <p:embeddedFont>
      <p:font typeface="Sakkal Majalla" panose="02000000000000000000" pitchFamily="2" charset="-78"/>
      <p:regular r:id="rId67"/>
      <p:bold r:id="rId68"/>
    </p:embeddedFont>
    <p:embeddedFont>
      <p:font typeface="Dosis ExtraBold" panose="020B0604020202020204" charset="0"/>
      <p:bold r:id="rId69"/>
    </p:embeddedFont>
    <p:embeddedFont>
      <p:font typeface="Microsoft Uighur" panose="02000000000000000000" pitchFamily="2" charset="-78"/>
      <p:regular r:id="rId70"/>
      <p:bold r:id="rId71"/>
    </p:embeddedFont>
    <p:embeddedFont>
      <p:font typeface="Dosis Medium" panose="020B0604020202020204" charset="0"/>
      <p:regular r:id="rId72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D7C"/>
    <a:srgbClr val="D6E9EA"/>
    <a:srgbClr val="1E3F48"/>
    <a:srgbClr val="106585"/>
    <a:srgbClr val="0097B2"/>
    <a:srgbClr val="00729A"/>
    <a:srgbClr val="70B1B6"/>
    <a:srgbClr val="7FB9BE"/>
    <a:srgbClr val="C3D21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12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font" Target="fonts/font7.fntdata"/><Relationship Id="rId68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font" Target="fonts/font2.fntdata"/><Relationship Id="rId66" Type="http://schemas.openxmlformats.org/officeDocument/2006/relationships/font" Target="fonts/font10.fntdata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5.fntdata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notesMaster" Target="notesMasters/notesMaster1.xml"/><Relationship Id="rId64" Type="http://schemas.openxmlformats.org/officeDocument/2006/relationships/font" Target="fonts/font8.fntdata"/><Relationship Id="rId69" Type="http://schemas.openxmlformats.org/officeDocument/2006/relationships/font" Target="fonts/font13.fnt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font" Target="fonts/font16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font" Target="fonts/font3.fntdata"/><Relationship Id="rId67" Type="http://schemas.openxmlformats.org/officeDocument/2006/relationships/font" Target="fonts/font11.fntdata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font" Target="fonts/font6.fntdata"/><Relationship Id="rId70" Type="http://schemas.openxmlformats.org/officeDocument/2006/relationships/font" Target="fonts/font14.fntdata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font" Target="fonts/font1.fntdata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15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957657-6452-4DBE-9B68-798212620B8D}" type="doc">
      <dgm:prSet loTypeId="urn:microsoft.com/office/officeart/2005/8/layout/matrix1" loCatId="matrix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47FF1F67-46D2-4237-AC2C-7BA1E1BE9F0A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جارُ </a:t>
          </a:r>
          <a:r>
            <a:rPr lang="ar-MA" sz="3600" b="1" dirty="0" err="1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ﭐلْخائِنُ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B6C5D9A-68BF-452B-96E9-0F23C490F9A3}" type="par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817EC7C-C22B-477C-A2C4-BBACC2925266}" type="sib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8001F4D-D792-48CE-BFB6-B69E16887331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َكانُ: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670BF53-C171-458E-A32A-89BB03967FBB}" type="par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0EF75722-BA8E-4CB0-B74C-61FDF0BA0274}" type="sib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B358C5DC-F12D-44B0-9539-FD5150233E4D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زَّمانُ: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95C6A63-A16F-423B-B678-2CA9E86B3747}" type="par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A867D9F7-71FF-4450-A808-0F785248B15C}" type="sib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DC00087-E8AE-49B2-BDB5-5A0F6CC6C0F7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حَلُّ: .......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78F00A4-4180-465A-B8FE-788B9A3DF4D9}" type="par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32BC00D3-6218-4155-AF2C-5E013413EA98}" type="sib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508831DF-1D04-4033-B408-8CBAD10926AF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ُشْكِلَةُ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81982976-07F5-4FD7-9FAC-C3E6D751679F}" type="par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02C1D4F-816E-43DD-9CD1-744183F957EE}" type="sib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2604E00-2669-4D0E-BBB1-10B7109862B9}" type="pres">
      <dgm:prSet presAssocID="{5E957657-6452-4DBE-9B68-798212620B8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DB3BF3A-2870-4175-90F4-12D822A93687}" type="pres">
      <dgm:prSet presAssocID="{5E957657-6452-4DBE-9B68-798212620B8D}" presName="matrix" presStyleCnt="0"/>
      <dgm:spPr/>
    </dgm:pt>
    <dgm:pt modelId="{C8C4F009-E953-44CD-99EF-AD942024AA42}" type="pres">
      <dgm:prSet presAssocID="{5E957657-6452-4DBE-9B68-798212620B8D}" presName="tile1" presStyleLbl="node1" presStyleIdx="0" presStyleCnt="4"/>
      <dgm:spPr/>
      <dgm:t>
        <a:bodyPr/>
        <a:lstStyle/>
        <a:p>
          <a:endParaRPr lang="fr-FR"/>
        </a:p>
      </dgm:t>
    </dgm:pt>
    <dgm:pt modelId="{872D56A1-09A9-4CED-BF10-B7A5D50C6656}" type="pres">
      <dgm:prSet presAssocID="{5E957657-6452-4DBE-9B68-798212620B8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A8C0E-0DDE-43C0-9C7F-6245AE7219CF}" type="pres">
      <dgm:prSet presAssocID="{5E957657-6452-4DBE-9B68-798212620B8D}" presName="tile2" presStyleLbl="node1" presStyleIdx="1" presStyleCnt="4"/>
      <dgm:spPr/>
      <dgm:t>
        <a:bodyPr/>
        <a:lstStyle/>
        <a:p>
          <a:endParaRPr lang="fr-FR"/>
        </a:p>
      </dgm:t>
    </dgm:pt>
    <dgm:pt modelId="{ADF473CE-25B2-4DFB-B146-DAEB24E121AA}" type="pres">
      <dgm:prSet presAssocID="{5E957657-6452-4DBE-9B68-798212620B8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9926D05-A63B-4C4B-9CCB-A76E88B090D5}" type="pres">
      <dgm:prSet presAssocID="{5E957657-6452-4DBE-9B68-798212620B8D}" presName="tile3" presStyleLbl="node1" presStyleIdx="2" presStyleCnt="4"/>
      <dgm:spPr/>
      <dgm:t>
        <a:bodyPr/>
        <a:lstStyle/>
        <a:p>
          <a:endParaRPr lang="fr-FR"/>
        </a:p>
      </dgm:t>
    </dgm:pt>
    <dgm:pt modelId="{50917356-299A-474C-9724-F62FEA4AAA16}" type="pres">
      <dgm:prSet presAssocID="{5E957657-6452-4DBE-9B68-798212620B8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02415B0-CAFD-4B65-A7B1-A598593DC044}" type="pres">
      <dgm:prSet presAssocID="{5E957657-6452-4DBE-9B68-798212620B8D}" presName="tile4" presStyleLbl="node1" presStyleIdx="3" presStyleCnt="4"/>
      <dgm:spPr/>
      <dgm:t>
        <a:bodyPr/>
        <a:lstStyle/>
        <a:p>
          <a:endParaRPr lang="fr-FR"/>
        </a:p>
      </dgm:t>
    </dgm:pt>
    <dgm:pt modelId="{2BF89C9F-8389-4410-AA96-9FF1B43461A3}" type="pres">
      <dgm:prSet presAssocID="{5E957657-6452-4DBE-9B68-798212620B8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1856F3A-684C-4B53-8FF9-DB91EAA873BE}" type="pres">
      <dgm:prSet presAssocID="{5E957657-6452-4DBE-9B68-798212620B8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</dgm:ptLst>
  <dgm:cxnLst>
    <dgm:cxn modelId="{B49E3137-1260-440C-857C-D19DC65D383F}" srcId="{47FF1F67-46D2-4237-AC2C-7BA1E1BE9F0A}" destId="{B358C5DC-F12D-44B0-9539-FD5150233E4D}" srcOrd="1" destOrd="0" parTransId="{E95C6A63-A16F-423B-B678-2CA9E86B3747}" sibTransId="{A867D9F7-71FF-4450-A808-0F785248B15C}"/>
    <dgm:cxn modelId="{360058BE-4B30-4A76-9C34-A721393D5C9C}" type="presOf" srcId="{508831DF-1D04-4033-B408-8CBAD10926AF}" destId="{A02415B0-CAFD-4B65-A7B1-A598593DC044}" srcOrd="0" destOrd="0" presId="urn:microsoft.com/office/officeart/2005/8/layout/matrix1"/>
    <dgm:cxn modelId="{A71A9B07-F23B-436E-925B-A91CA300294B}" type="presOf" srcId="{1DC00087-E8AE-49B2-BDB5-5A0F6CC6C0F7}" destId="{79926D05-A63B-4C4B-9CCB-A76E88B090D5}" srcOrd="0" destOrd="0" presId="urn:microsoft.com/office/officeart/2005/8/layout/matrix1"/>
    <dgm:cxn modelId="{03AA28FF-3074-4485-B3F8-B9DAD0446DE8}" type="presOf" srcId="{B358C5DC-F12D-44B0-9539-FD5150233E4D}" destId="{ADF473CE-25B2-4DFB-B146-DAEB24E121AA}" srcOrd="1" destOrd="0" presId="urn:microsoft.com/office/officeart/2005/8/layout/matrix1"/>
    <dgm:cxn modelId="{980CCB00-2350-4932-A3EF-24A9B9AB65E1}" type="presOf" srcId="{18001F4D-D792-48CE-BFB6-B69E16887331}" destId="{C8C4F009-E953-44CD-99EF-AD942024AA42}" srcOrd="0" destOrd="0" presId="urn:microsoft.com/office/officeart/2005/8/layout/matrix1"/>
    <dgm:cxn modelId="{2E45EABE-6A07-4164-AE85-6F6D93AB1DDF}" srcId="{5E957657-6452-4DBE-9B68-798212620B8D}" destId="{47FF1F67-46D2-4237-AC2C-7BA1E1BE9F0A}" srcOrd="0" destOrd="0" parTransId="{EB6C5D9A-68BF-452B-96E9-0F23C490F9A3}" sibTransId="{F817EC7C-C22B-477C-A2C4-BBACC2925266}"/>
    <dgm:cxn modelId="{D5A36DAD-AC8A-4B00-8FF1-3379103FF001}" type="presOf" srcId="{47FF1F67-46D2-4237-AC2C-7BA1E1BE9F0A}" destId="{A1856F3A-684C-4B53-8FF9-DB91EAA873BE}" srcOrd="0" destOrd="0" presId="urn:microsoft.com/office/officeart/2005/8/layout/matrix1"/>
    <dgm:cxn modelId="{3821D6F9-DEF1-4215-9BE6-97450B08AB13}" type="presOf" srcId="{1DC00087-E8AE-49B2-BDB5-5A0F6CC6C0F7}" destId="{50917356-299A-474C-9724-F62FEA4AAA16}" srcOrd="1" destOrd="0" presId="urn:microsoft.com/office/officeart/2005/8/layout/matrix1"/>
    <dgm:cxn modelId="{F10AB323-B16F-4D32-A3D3-D30BE22F7EE1}" type="presOf" srcId="{B358C5DC-F12D-44B0-9539-FD5150233E4D}" destId="{10DA8C0E-0DDE-43C0-9C7F-6245AE7219CF}" srcOrd="0" destOrd="0" presId="urn:microsoft.com/office/officeart/2005/8/layout/matrix1"/>
    <dgm:cxn modelId="{5D132CE0-84D2-4E14-B2A6-8397D8C09F18}" srcId="{47FF1F67-46D2-4237-AC2C-7BA1E1BE9F0A}" destId="{18001F4D-D792-48CE-BFB6-B69E16887331}" srcOrd="0" destOrd="0" parTransId="{D670BF53-C171-458E-A32A-89BB03967FBB}" sibTransId="{0EF75722-BA8E-4CB0-B74C-61FDF0BA0274}"/>
    <dgm:cxn modelId="{4ADF9B26-4CB6-4AAB-BE2C-3B2BD56C523E}" type="presOf" srcId="{5E957657-6452-4DBE-9B68-798212620B8D}" destId="{E2604E00-2669-4D0E-BBB1-10B7109862B9}" srcOrd="0" destOrd="0" presId="urn:microsoft.com/office/officeart/2005/8/layout/matrix1"/>
    <dgm:cxn modelId="{BF084E61-CB85-405D-9134-4933DFE39487}" type="presOf" srcId="{18001F4D-D792-48CE-BFB6-B69E16887331}" destId="{872D56A1-09A9-4CED-BF10-B7A5D50C6656}" srcOrd="1" destOrd="0" presId="urn:microsoft.com/office/officeart/2005/8/layout/matrix1"/>
    <dgm:cxn modelId="{83010612-537B-45E3-97C0-A61032787509}" type="presOf" srcId="{508831DF-1D04-4033-B408-8CBAD10926AF}" destId="{2BF89C9F-8389-4410-AA96-9FF1B43461A3}" srcOrd="1" destOrd="0" presId="urn:microsoft.com/office/officeart/2005/8/layout/matrix1"/>
    <dgm:cxn modelId="{BFA8669A-434C-491B-88D8-25637F580825}" srcId="{47FF1F67-46D2-4237-AC2C-7BA1E1BE9F0A}" destId="{508831DF-1D04-4033-B408-8CBAD10926AF}" srcOrd="3" destOrd="0" parTransId="{81982976-07F5-4FD7-9FAC-C3E6D751679F}" sibTransId="{F02C1D4F-816E-43DD-9CD1-744183F957EE}"/>
    <dgm:cxn modelId="{941962A0-A0C9-4B16-AE6A-8CBCB5A882EE}" srcId="{47FF1F67-46D2-4237-AC2C-7BA1E1BE9F0A}" destId="{1DC00087-E8AE-49B2-BDB5-5A0F6CC6C0F7}" srcOrd="2" destOrd="0" parTransId="{D78F00A4-4180-465A-B8FE-788B9A3DF4D9}" sibTransId="{32BC00D3-6218-4155-AF2C-5E013413EA98}"/>
    <dgm:cxn modelId="{11952B3D-5766-4DB0-A65B-E76616B12665}" type="presParOf" srcId="{E2604E00-2669-4D0E-BBB1-10B7109862B9}" destId="{ADB3BF3A-2870-4175-90F4-12D822A93687}" srcOrd="0" destOrd="0" presId="urn:microsoft.com/office/officeart/2005/8/layout/matrix1"/>
    <dgm:cxn modelId="{05E2C9FC-D8AC-4710-8214-1A241807F652}" type="presParOf" srcId="{ADB3BF3A-2870-4175-90F4-12D822A93687}" destId="{C8C4F009-E953-44CD-99EF-AD942024AA42}" srcOrd="0" destOrd="0" presId="urn:microsoft.com/office/officeart/2005/8/layout/matrix1"/>
    <dgm:cxn modelId="{EBFCE268-E47C-4722-95EC-C5DE8D69EE11}" type="presParOf" srcId="{ADB3BF3A-2870-4175-90F4-12D822A93687}" destId="{872D56A1-09A9-4CED-BF10-B7A5D50C6656}" srcOrd="1" destOrd="0" presId="urn:microsoft.com/office/officeart/2005/8/layout/matrix1"/>
    <dgm:cxn modelId="{6F6F7DC7-C211-420E-BC4C-ECF3A2E4D413}" type="presParOf" srcId="{ADB3BF3A-2870-4175-90F4-12D822A93687}" destId="{10DA8C0E-0DDE-43C0-9C7F-6245AE7219CF}" srcOrd="2" destOrd="0" presId="urn:microsoft.com/office/officeart/2005/8/layout/matrix1"/>
    <dgm:cxn modelId="{3B41DBC8-8ECB-4C0B-B3A4-4ACAFD471E7F}" type="presParOf" srcId="{ADB3BF3A-2870-4175-90F4-12D822A93687}" destId="{ADF473CE-25B2-4DFB-B146-DAEB24E121AA}" srcOrd="3" destOrd="0" presId="urn:microsoft.com/office/officeart/2005/8/layout/matrix1"/>
    <dgm:cxn modelId="{5F4C362D-2EED-4091-99A1-ECCA89AE19B0}" type="presParOf" srcId="{ADB3BF3A-2870-4175-90F4-12D822A93687}" destId="{79926D05-A63B-4C4B-9CCB-A76E88B090D5}" srcOrd="4" destOrd="0" presId="urn:microsoft.com/office/officeart/2005/8/layout/matrix1"/>
    <dgm:cxn modelId="{16D37674-6497-4E67-9544-B0EC0E12413F}" type="presParOf" srcId="{ADB3BF3A-2870-4175-90F4-12D822A93687}" destId="{50917356-299A-474C-9724-F62FEA4AAA16}" srcOrd="5" destOrd="0" presId="urn:microsoft.com/office/officeart/2005/8/layout/matrix1"/>
    <dgm:cxn modelId="{68662EF3-B777-4993-A293-D99545A373C9}" type="presParOf" srcId="{ADB3BF3A-2870-4175-90F4-12D822A93687}" destId="{A02415B0-CAFD-4B65-A7B1-A598593DC044}" srcOrd="6" destOrd="0" presId="urn:microsoft.com/office/officeart/2005/8/layout/matrix1"/>
    <dgm:cxn modelId="{265E02CD-8B7F-48F8-9E9B-80C84B056E82}" type="presParOf" srcId="{ADB3BF3A-2870-4175-90F4-12D822A93687}" destId="{2BF89C9F-8389-4410-AA96-9FF1B43461A3}" srcOrd="7" destOrd="0" presId="urn:microsoft.com/office/officeart/2005/8/layout/matrix1"/>
    <dgm:cxn modelId="{A4944F82-7DF0-44F3-9C33-BFB62EE11C02}" type="presParOf" srcId="{E2604E00-2669-4D0E-BBB1-10B7109862B9}" destId="{A1856F3A-684C-4B53-8FF9-DB91EAA873BE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DCA217-871D-4D7F-8D59-C83A4C9C5EB2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23364E-F43C-462A-A32F-C389FF427F4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91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20.png"/><Relationship Id="rId9" Type="http://schemas.microsoft.com/office/2007/relationships/hdphoto" Target="../media/hdphoto4.wdp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20.png"/><Relationship Id="rId9" Type="http://schemas.microsoft.com/office/2007/relationships/hdphoto" Target="../media/hdphoto4.wdp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microsoft.com/office/2007/relationships/hdphoto" Target="../media/hdphoto3.wdp"/><Relationship Id="rId4" Type="http://schemas.openxmlformats.org/officeDocument/2006/relationships/image" Target="../media/image10.png"/><Relationship Id="rId9" Type="http://schemas.microsoft.com/office/2007/relationships/hdphoto" Target="../media/hdphoto2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772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42815786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xmlns="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0239427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xmlns="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xmlns="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86035602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xmlns="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869547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xmlns="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40076808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xmlns="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xmlns="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xmlns="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1055683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19528445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41290487"/>
      </p:ext>
    </p:extLst>
  </p:cSld>
  <p:clrMapOvr>
    <a:masterClrMapping/>
  </p:clrMapOvr>
  <p:transition spd="slow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97273074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xmlns="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50719258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6396121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34093720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xmlns="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xmlns="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91354002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xmlns="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xmlns="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xmlns="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xmlns="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5533081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3226913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3686225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44777646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xmlns="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xmlns="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xmlns="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xmlns="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20294159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xmlns="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4253731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4660026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15957095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xmlns="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xmlns="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xmlns="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xmlns="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xmlns="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xmlns="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xmlns="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6307342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xmlns="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32655502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78178585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5904787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26923716"/>
      </p:ext>
    </p:extLst>
  </p:cSld>
  <p:clrMapOvr>
    <a:masterClrMapping/>
  </p:clrMapOvr>
  <p:transition spd="slow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xmlns="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2820218"/>
      </p:ext>
    </p:extLst>
  </p:cSld>
  <p:clrMapOvr>
    <a:masterClrMapping/>
  </p:clrMapOvr>
  <p:transition spd="slow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xmlns="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xmlns="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85176755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xmlns="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8974588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xmlns="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17003987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xmlns="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xmlns="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xmlns="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5816598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2019209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170987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0570023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3159988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57824986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xmlns="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xmlns="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69403181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xmlns="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xmlns="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xmlns="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xmlns="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46873569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47209086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45467526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04358242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xmlns="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xmlns="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xmlns="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xmlns="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34458595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xmlns="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8286848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66481803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xmlns="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xmlns="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4709217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77724341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xmlns="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xmlns="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xmlns="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xmlns="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xmlns="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xmlns="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xmlns="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78734535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xmlns="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4252057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909923405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4329905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xmlns="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34948691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xmlns="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xmlns="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26885525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xmlns="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2234606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xmlns="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7868936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xmlns="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xmlns="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xmlns="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37740943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xmlns="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xmlns="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xmlns="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xmlns="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10243861"/>
      </p:ext>
    </p:extLst>
  </p:cSld>
  <p:clrMapOvr>
    <a:masterClrMapping/>
  </p:clrMapOvr>
  <p:transition spd="slow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67149154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68259676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45947881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8035056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xmlns="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xmlns="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2257568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xmlns="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xmlns="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xmlns="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xmlns="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53032989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3428973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2432562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14751846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xmlns="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xmlns="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xmlns="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xmlns="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25525249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25425333"/>
      </p:ext>
    </p:extLst>
  </p:cSld>
  <p:clrMapOvr>
    <a:masterClrMapping/>
  </p:clrMapOvr>
  <p:transition spd="slow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xmlns="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2863786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93532751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17457203"/>
      </p:ext>
    </p:extLst>
  </p:cSld>
  <p:clrMapOvr>
    <a:masterClrMapping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xmlns="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xmlns="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xmlns="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xmlns="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xmlns="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xmlns="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xmlns="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86812636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xmlns="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19905579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Titre et contenu lib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5103806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8474238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08788375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xmlns="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xmlns="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xmlns="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xmlns="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0852437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40293587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xmlns="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3149442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0457697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1420184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xmlns="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xmlns="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xmlns="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xmlns="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xmlns="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xmlns="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xmlns="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05328524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9365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52825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6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6900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383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10798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89980385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815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34297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83499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34239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0/01/2026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410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xmlns="" id="{D17293F3-D23C-5B39-CA2E-065ADB373CF2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xmlns="" id="{7DB622CA-75B8-1DB3-221C-F032331AEC89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xmlns="" id="{2422045F-9F83-8B02-B2A6-ACEAD36DEBAC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xmlns="" id="{32E9D8C1-44A4-3DD1-138E-64212CF1CAB8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7" name="Espace réservé pour une image  7">
            <a:extLst>
              <a:ext uri="{FF2B5EF4-FFF2-40B4-BE49-F238E27FC236}">
                <a16:creationId xmlns:a16="http://schemas.microsoft.com/office/drawing/2014/main" xmlns="" id="{CF72A1D0-19C5-FB34-3BA6-3FC3D8AD19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xmlns="" id="{651CEA69-29B3-CA99-012C-DE3CBF19CF8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xmlns="" id="{461FED72-4AD6-2E71-C03F-25EB1626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xmlns="" id="{F0F7C12C-FBB0-E4FC-D49D-AE43AB4F49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xmlns="" id="{76202372-AC64-90F0-FB97-3C822FFD20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xmlns="" id="{1BFAFA1A-B3A8-6BF0-D7F3-153117367B2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du texte 13">
            <a:extLst>
              <a:ext uri="{FF2B5EF4-FFF2-40B4-BE49-F238E27FC236}">
                <a16:creationId xmlns:a16="http://schemas.microsoft.com/office/drawing/2014/main" xmlns="" id="{D113B0C1-5BA0-6BE9-2BCD-F9F05FAD57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xmlns="" id="{512AF551-AFE7-003D-FA00-8F4FBF995F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xmlns="" id="{8D2F1BFB-C355-7F08-41BE-DA5865755C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xmlns="" id="{38917069-6101-0DC9-93E1-900F88BE6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xmlns="" id="{B2614ECD-99CF-FF11-140D-A119DFD535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xmlns="" id="{D3F024BA-DAE1-588E-F0F5-B1E8B89B4B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87506743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xmlns="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xmlns="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xmlns="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xmlns="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xmlns="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xmlns="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xmlns="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xmlns="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xmlns="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xmlns="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xmlns="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xmlns="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xmlns="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xmlns="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xmlns="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xmlns="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24500562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5465031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xmlns="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xmlns="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xmlns="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xmlns="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xmlns="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xmlns="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xmlns="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xmlns="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xmlns="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xmlns="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xmlns="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xmlns="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xmlns="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xmlns="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xmlns="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xmlns="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90514064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B7A934E9-D4E5-7ECD-3F55-B99D240A27C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972000" y="1587500"/>
            <a:ext cx="7200000" cy="432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169458980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xmlns="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23313547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0F2A5A2-07B7-D4DA-50E5-C4F55CED7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xmlns="" id="{8757AEE0-EDAD-BCFA-B0C1-E3F26DF7BDB0}"/>
              </a:ext>
            </a:extLst>
          </p:cNvPr>
          <p:cNvGrpSpPr/>
          <p:nvPr userDrawn="1"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xmlns="" id="{9F1E9647-C23F-0AB7-101C-32D0969E9F60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4" name="Organigramme : Terminateur 3">
              <a:extLst>
                <a:ext uri="{FF2B5EF4-FFF2-40B4-BE49-F238E27FC236}">
                  <a16:creationId xmlns:a16="http://schemas.microsoft.com/office/drawing/2014/main" xmlns="" id="{DD7159A8-5CAC-1F2F-AA5A-44097860B98F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xmlns="" id="{DD42F6F4-087E-E434-BA2D-3E6C35CBE2D3}"/>
              </a:ext>
            </a:extLst>
          </p:cNvPr>
          <p:cNvGrpSpPr/>
          <p:nvPr userDrawn="1"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xmlns="" id="{C29B8546-2300-CF26-DE2E-38073503AB14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6" name="Organigramme : Terminateur 5">
              <a:extLst>
                <a:ext uri="{FF2B5EF4-FFF2-40B4-BE49-F238E27FC236}">
                  <a16:creationId xmlns:a16="http://schemas.microsoft.com/office/drawing/2014/main" xmlns="" id="{9F63B16B-0D64-E4B7-A02B-5B9E10FD9E1A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6 - </a:t>
              </a: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78F03523-197D-A46E-FA54-91A6AFF7F28C}"/>
              </a:ext>
            </a:extLst>
          </p:cNvPr>
          <p:cNvGrpSpPr/>
          <p:nvPr userDrawn="1"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xmlns="" id="{076ABA10-32B5-B604-0B98-F854920B1C35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8" name="Organigramme : Terminateur 7">
              <a:extLst>
                <a:ext uri="{FF2B5EF4-FFF2-40B4-BE49-F238E27FC236}">
                  <a16:creationId xmlns:a16="http://schemas.microsoft.com/office/drawing/2014/main" xmlns="" id="{8D09FAA9-8B01-B85B-6AD2-AA1306C99B4F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2 - </a:t>
              </a:r>
              <a:endPara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xmlns="" id="{B7C6E9F6-C279-AB3D-B941-74079D24BBA4}"/>
              </a:ext>
            </a:extLst>
          </p:cNvPr>
          <p:cNvGrpSpPr/>
          <p:nvPr userDrawn="1"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xmlns="" id="{43917791-49A0-A179-89BD-9B276594FD5C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0" name="Organigramme : Terminateur 9">
              <a:extLst>
                <a:ext uri="{FF2B5EF4-FFF2-40B4-BE49-F238E27FC236}">
                  <a16:creationId xmlns:a16="http://schemas.microsoft.com/office/drawing/2014/main" xmlns="" id="{F9D3FD68-51AA-4AAC-DA0F-FC1598DFD10B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5 -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xmlns="" id="{C3FC77E3-3855-7B01-0EC8-80864EDB69DD}"/>
              </a:ext>
            </a:extLst>
          </p:cNvPr>
          <p:cNvGrpSpPr/>
          <p:nvPr userDrawn="1"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xmlns="" id="{CC537851-8C6F-4D1B-3353-B99C763FE6F0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2" name="Organigramme : Terminateur 11">
              <a:extLst>
                <a:ext uri="{FF2B5EF4-FFF2-40B4-BE49-F238E27FC236}">
                  <a16:creationId xmlns:a16="http://schemas.microsoft.com/office/drawing/2014/main" xmlns="" id="{E95BC511-E9AF-223A-8E8C-7786DA7A9B1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1 - </a:t>
              </a:r>
            </a:p>
          </p:txBody>
        </p:sp>
      </p:grp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xmlns="" id="{D174E1EA-100E-B3C4-9105-A0B081A78EFB}"/>
              </a:ext>
            </a:extLst>
          </p:cNvPr>
          <p:cNvSpPr txBox="1">
            <a:spLocks/>
          </p:cNvSpPr>
          <p:nvPr userDrawn="1"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C5080DA-EEE4-B0DB-4320-B6333D61EC3F}"/>
              </a:ext>
            </a:extLst>
          </p:cNvPr>
          <p:cNvGrpSpPr/>
          <p:nvPr userDrawn="1"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xmlns="" id="{FF956EF7-1C04-B75A-99DB-1610B0777584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20" name="Organigramme : Terminateur 19">
              <a:extLst>
                <a:ext uri="{FF2B5EF4-FFF2-40B4-BE49-F238E27FC236}">
                  <a16:creationId xmlns:a16="http://schemas.microsoft.com/office/drawing/2014/main" xmlns="" id="{E1429BD4-3BA4-BBFA-4BEF-AD11475F7BBB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4 - </a:t>
              </a:r>
            </a:p>
          </p:txBody>
        </p:sp>
      </p:grp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xmlns="" id="{5309429C-1039-2C54-E46D-AB6F245EAE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xmlns="" id="{804D03EF-3A2B-E15D-3E5B-9B72509A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xmlns="" id="{37C3B835-3703-D664-EDC0-559155651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du texte 25">
            <a:extLst>
              <a:ext uri="{FF2B5EF4-FFF2-40B4-BE49-F238E27FC236}">
                <a16:creationId xmlns:a16="http://schemas.microsoft.com/office/drawing/2014/main" xmlns="" id="{17275B2B-E189-AEF4-7C55-C06676186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xmlns="" id="{35F22259-A426-1C6B-4A60-50940908B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xmlns="" id="{B9583407-B6F3-0B8E-9991-D458D8A7CB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1153725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FF45224-BA7F-8144-8607-A09DDE370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6039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xmlns="" id="{0F34C4EC-38D2-DF0E-79EE-51FD9A9B44D8}"/>
              </a:ext>
            </a:extLst>
          </p:cNvPr>
          <p:cNvSpPr/>
          <p:nvPr userDrawn="1"/>
        </p:nvSpPr>
        <p:spPr>
          <a:xfrm>
            <a:off x="612000" y="2196000"/>
            <a:ext cx="3780000" cy="1080000"/>
          </a:xfrm>
          <a:prstGeom prst="roundRect">
            <a:avLst/>
          </a:prstGeom>
          <a:solidFill>
            <a:srgbClr val="A1D6EC"/>
          </a:solidFill>
          <a:ln>
            <a:solidFill>
              <a:schemeClr val="accent5"/>
            </a:solidFill>
          </a:ln>
          <a:effectLst>
            <a:outerShdw blurRad="38100" dist="25400" dir="2700000" algn="tl" rotWithShape="0">
              <a:srgbClr val="00B0F0">
                <a:alpha val="4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xmlns="" id="{38E0A981-512D-DDF2-8598-875BCCC3C132}"/>
              </a:ext>
            </a:extLst>
          </p:cNvPr>
          <p:cNvSpPr/>
          <p:nvPr userDrawn="1"/>
        </p:nvSpPr>
        <p:spPr>
          <a:xfrm>
            <a:off x="828000" y="194400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E9368326-A537-80A0-9302-1EE9F91FF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000" y="2395639"/>
            <a:ext cx="3420000" cy="792000"/>
          </a:xfrm>
          <a:prstGeom prst="roundRect">
            <a:avLst/>
          </a:prstGeom>
          <a:solidFill>
            <a:srgbClr val="E6F3FA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>
                <a:solidFill>
                  <a:srgbClr val="474F71"/>
                </a:solidFill>
                <a:latin typeface="Microsoft Uighur" panose="02000000000000000000" pitchFamily="2" charset="-78"/>
                <a:sym typeface="Wingdings" panose="05000000000000000000" pitchFamily="2" charset="2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474F71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xmlns="" id="{876AB203-C4D4-63C1-C9BD-6180ADF322D9}"/>
              </a:ext>
            </a:extLst>
          </p:cNvPr>
          <p:cNvSpPr/>
          <p:nvPr userDrawn="1"/>
        </p:nvSpPr>
        <p:spPr>
          <a:xfrm>
            <a:off x="4716000" y="2196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8" name="Organigramme : Terminateur 7">
            <a:extLst>
              <a:ext uri="{FF2B5EF4-FFF2-40B4-BE49-F238E27FC236}">
                <a16:creationId xmlns:a16="http://schemas.microsoft.com/office/drawing/2014/main" xmlns="" id="{72211034-E5CD-05DB-42AD-0BC0C22E5903}"/>
              </a:ext>
            </a:extLst>
          </p:cNvPr>
          <p:cNvSpPr/>
          <p:nvPr userDrawn="1"/>
        </p:nvSpPr>
        <p:spPr>
          <a:xfrm>
            <a:off x="4932000" y="1944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4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xmlns="" id="{3A2F45E5-0D2B-B4F1-5CD0-221F082189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96000" y="239563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828C7C5B-D002-002E-FEE3-B7A0B6B29B84}"/>
              </a:ext>
            </a:extLst>
          </p:cNvPr>
          <p:cNvSpPr/>
          <p:nvPr userDrawn="1"/>
        </p:nvSpPr>
        <p:spPr>
          <a:xfrm>
            <a:off x="628649" y="3708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8" name="Organigramme : Terminateur 17">
            <a:extLst>
              <a:ext uri="{FF2B5EF4-FFF2-40B4-BE49-F238E27FC236}">
                <a16:creationId xmlns:a16="http://schemas.microsoft.com/office/drawing/2014/main" xmlns="" id="{A35578E3-0C86-555B-DF74-F22BC26A843E}"/>
              </a:ext>
            </a:extLst>
          </p:cNvPr>
          <p:cNvSpPr/>
          <p:nvPr userDrawn="1"/>
        </p:nvSpPr>
        <p:spPr>
          <a:xfrm>
            <a:off x="828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2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xmlns="" id="{FE19DBD7-3323-C0FE-A7C0-054D4D6947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649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xmlns="" id="{A8DBAB32-5108-FCF6-2E8F-44876E1F3A86}"/>
              </a:ext>
            </a:extLst>
          </p:cNvPr>
          <p:cNvSpPr/>
          <p:nvPr userDrawn="1"/>
        </p:nvSpPr>
        <p:spPr>
          <a:xfrm>
            <a:off x="628649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xmlns="" id="{B810E982-403C-2AEF-3862-CB8B7F890D65}"/>
              </a:ext>
            </a:extLst>
          </p:cNvPr>
          <p:cNvSpPr/>
          <p:nvPr userDrawn="1"/>
        </p:nvSpPr>
        <p:spPr>
          <a:xfrm>
            <a:off x="828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3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78E4694-7E2B-3E51-F604-26B60BCB0C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xmlns="" id="{09EF5DAB-AFE5-A7BB-ECBF-E6D0E54DC52C}"/>
              </a:ext>
            </a:extLst>
          </p:cNvPr>
          <p:cNvSpPr/>
          <p:nvPr userDrawn="1"/>
        </p:nvSpPr>
        <p:spPr>
          <a:xfrm>
            <a:off x="4735350" y="3734113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4" name="Organigramme : Terminateur 23">
            <a:extLst>
              <a:ext uri="{FF2B5EF4-FFF2-40B4-BE49-F238E27FC236}">
                <a16:creationId xmlns:a16="http://schemas.microsoft.com/office/drawing/2014/main" xmlns="" id="{867828EE-B1E5-9F8B-0D7C-A5A846A60ACE}"/>
              </a:ext>
            </a:extLst>
          </p:cNvPr>
          <p:cNvSpPr/>
          <p:nvPr userDrawn="1"/>
        </p:nvSpPr>
        <p:spPr>
          <a:xfrm>
            <a:off x="4932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5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xmlns="" id="{DD324492-66B3-DE4C-8000-A60CFAE496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15350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xmlns="" id="{EF2B26AA-471C-2E08-9C98-93BB32368F48}"/>
              </a:ext>
            </a:extLst>
          </p:cNvPr>
          <p:cNvSpPr/>
          <p:nvPr userDrawn="1"/>
        </p:nvSpPr>
        <p:spPr>
          <a:xfrm>
            <a:off x="4735350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7" name="Organigramme : Terminateur 26">
            <a:extLst>
              <a:ext uri="{FF2B5EF4-FFF2-40B4-BE49-F238E27FC236}">
                <a16:creationId xmlns:a16="http://schemas.microsoft.com/office/drawing/2014/main" xmlns="" id="{48A37FD4-80CC-1828-6DF5-5882F04CAB2A}"/>
              </a:ext>
            </a:extLst>
          </p:cNvPr>
          <p:cNvSpPr/>
          <p:nvPr userDrawn="1"/>
        </p:nvSpPr>
        <p:spPr>
          <a:xfrm>
            <a:off x="4932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6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xmlns="" id="{36806FA2-43DA-8964-E325-6EA0415866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15350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0519447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xmlns="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751742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xmlns="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33541021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07225" y="340424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xmlns="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17586221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340566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551387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551387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xmlns="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551387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11104908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ar-MA" dirty="0"/>
              <a:t>هيكلة حصة اليوم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73698529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3843" y="2190869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6190420" y="2150869"/>
            <a:ext cx="76976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314000" y="195068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33371121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xmlns="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5841973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xmlns="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86BAD3D9-AD58-179C-B69E-830F87AB1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C07E0A2-EA33-DE3C-110B-9BF33762DD3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150E2FFA-A2BC-19B6-2E21-52362DDA208C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xmlns="" id="{01B804A5-6AAB-7FA2-7E6D-C43CE6A9B2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pour une image  26">
            <a:extLst>
              <a:ext uri="{FF2B5EF4-FFF2-40B4-BE49-F238E27FC236}">
                <a16:creationId xmlns:a16="http://schemas.microsoft.com/office/drawing/2014/main" xmlns="" id="{1B168C30-0497-899C-FCA3-02A763CF9BD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82560790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xmlns="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xmlns="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20198654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xmlns="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5938169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42602581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3936920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xmlns="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49510387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xmlns="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xmlns="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2999876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xmlns="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51739665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xmlns="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1112276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xmlns="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xmlns="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xmlns="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33799315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92774107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8246537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xmlns="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69685249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24360072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xmlns="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09414243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67565055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xmlns="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xmlns="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0449877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xmlns="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xmlns="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xmlns="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xmlns="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xmlns="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39609776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3819482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4294695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379367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xmlns="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xmlns="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xmlns="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xmlns="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xmlns="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xmlns="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xmlns="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xmlns="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xmlns="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xmlns="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xmlns="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xmlns="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5536308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xmlns="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437123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xmlns="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xmlns="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50822582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03657648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9967491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xmlns="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xmlns="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xmlns="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xmlns="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xmlns="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xmlns="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xmlns="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85933504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94770224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xmlns="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 algn="r" rtl="1"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67072785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6037698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1C52B976-EFAE-42E7-29AC-478BA2E1BD5D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692000" y="1693586"/>
            <a:ext cx="5760000" cy="324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6985428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Espace réservé du texte 29">
            <a:extLst>
              <a:ext uri="{FF2B5EF4-FFF2-40B4-BE49-F238E27FC236}">
                <a16:creationId xmlns:a16="http://schemas.microsoft.com/office/drawing/2014/main" xmlns="" id="{875F7547-AE65-F045-895D-8058BAE96B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1647" y="2348166"/>
            <a:ext cx="5600701" cy="2676585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xmlns="" id="{1F750240-B25D-E826-2FC6-DD63E86DFD1C}"/>
              </a:ext>
            </a:extLst>
          </p:cNvPr>
          <p:cNvSpPr/>
          <p:nvPr userDrawn="1"/>
        </p:nvSpPr>
        <p:spPr>
          <a:xfrm>
            <a:off x="1006250" y="2348166"/>
            <a:ext cx="7131497" cy="2693854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91985752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xmlns="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648289"/>
            <a:ext cx="2234716" cy="360000"/>
          </a:xfrm>
          <a:prstGeom prst="rect">
            <a:avLst/>
          </a:prstGeom>
        </p:spPr>
      </p:pic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xmlns="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xmlns="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</p:spTree>
    <p:extLst>
      <p:ext uri="{BB962C8B-B14F-4D97-AF65-F5344CB8AC3E}">
        <p14:creationId xmlns:p14="http://schemas.microsoft.com/office/powerpoint/2010/main" val="1116815460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xmlns="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xmlns="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xmlns="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</p:spTree>
    <p:extLst>
      <p:ext uri="{BB962C8B-B14F-4D97-AF65-F5344CB8AC3E}">
        <p14:creationId xmlns:p14="http://schemas.microsoft.com/office/powerpoint/2010/main" val="1615220788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xmlns="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xmlns="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xmlns="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73058550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xmlns="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xmlns="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xmlns="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صرف وتحويل </a:t>
            </a:r>
          </a:p>
        </p:txBody>
      </p:sp>
    </p:spTree>
    <p:extLst>
      <p:ext uri="{BB962C8B-B14F-4D97-AF65-F5344CB8AC3E}">
        <p14:creationId xmlns:p14="http://schemas.microsoft.com/office/powerpoint/2010/main" val="2462839617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إملاء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xmlns="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xmlns="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xmlns="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إنتاج كتابي </a:t>
            </a:r>
          </a:p>
        </p:txBody>
      </p:sp>
    </p:spTree>
    <p:extLst>
      <p:ext uri="{BB962C8B-B14F-4D97-AF65-F5344CB8AC3E}">
        <p14:creationId xmlns:p14="http://schemas.microsoft.com/office/powerpoint/2010/main" val="930234534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796702" y="2198203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136199" y="2252203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6489" y="2198203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1962614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720126" y="1962614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796702" y="3884122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136199" y="3938122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66489" y="3884122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3648533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613482" y="3648533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  </a:t>
            </a:r>
          </a:p>
        </p:txBody>
      </p:sp>
    </p:spTree>
    <p:extLst>
      <p:ext uri="{BB962C8B-B14F-4D97-AF65-F5344CB8AC3E}">
        <p14:creationId xmlns:p14="http://schemas.microsoft.com/office/powerpoint/2010/main" val="2161818467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xmlns="" id="{29DAEA41-5D00-ED34-D554-A529177F4182}"/>
              </a:ext>
            </a:extLst>
          </p:cNvPr>
          <p:cNvSpPr/>
          <p:nvPr userDrawn="1"/>
        </p:nvSpPr>
        <p:spPr>
          <a:xfrm>
            <a:off x="1006252" y="1523878"/>
            <a:ext cx="7131497" cy="900000"/>
          </a:xfrm>
          <a:prstGeom prst="roundRect">
            <a:avLst>
              <a:gd name="adj" fmla="val 50000"/>
            </a:avLst>
          </a:prstGeom>
          <a:solidFill>
            <a:srgbClr val="B5EEF2"/>
          </a:solidFill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xmlns="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345749" y="157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xmlns="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76039" y="152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128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128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xmlns="" id="{E167E433-320B-2546-9D52-C395FCA750E1}"/>
              </a:ext>
            </a:extLst>
          </p:cNvPr>
          <p:cNvSpPr/>
          <p:nvPr userDrawn="1"/>
        </p:nvSpPr>
        <p:spPr>
          <a:xfrm>
            <a:off x="1006252" y="285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xmlns="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45749" y="290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xmlns="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76039" y="285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261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261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xmlns="" id="{30D8AE50-417D-45B7-9122-F3958F0C4C71}"/>
              </a:ext>
            </a:extLst>
          </p:cNvPr>
          <p:cNvSpPr/>
          <p:nvPr userDrawn="1"/>
        </p:nvSpPr>
        <p:spPr>
          <a:xfrm>
            <a:off x="1006252" y="418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xmlns="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345749" y="423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xmlns="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76039" y="418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394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394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87" name="Rectangle : coins arrondis 86">
            <a:extLst>
              <a:ext uri="{FF2B5EF4-FFF2-40B4-BE49-F238E27FC236}">
                <a16:creationId xmlns:a16="http://schemas.microsoft.com/office/drawing/2014/main" xmlns="" id="{13ADE3E3-FEE4-7D18-5E4F-161698C8298E}"/>
              </a:ext>
            </a:extLst>
          </p:cNvPr>
          <p:cNvSpPr/>
          <p:nvPr userDrawn="1"/>
        </p:nvSpPr>
        <p:spPr>
          <a:xfrm>
            <a:off x="1006252" y="5513101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8" name="Espace réservé pour une image  52">
            <a:extLst>
              <a:ext uri="{FF2B5EF4-FFF2-40B4-BE49-F238E27FC236}">
                <a16:creationId xmlns:a16="http://schemas.microsoft.com/office/drawing/2014/main" xmlns="" id="{5002C4B3-577C-EDF2-EEF3-BB3F299EEF1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7345749" y="5567101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9" name="Espace réservé du texte 29">
            <a:extLst>
              <a:ext uri="{FF2B5EF4-FFF2-40B4-BE49-F238E27FC236}">
                <a16:creationId xmlns:a16="http://schemas.microsoft.com/office/drawing/2014/main" xmlns="" id="{84AB51F3-94E9-C64F-E0A7-077D111234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76039" y="5513101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90" name="Image 8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xmlns="" id="{0BB64257-1A94-AB80-9832-CB0DF63AC8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5277512"/>
            <a:ext cx="2234716" cy="360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AB053F21-2486-E623-00E1-630B455CA52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5277512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4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xmlns="" id="{142297B5-6FBA-BC26-6A95-65899F08D5CE}"/>
              </a:ext>
            </a:extLst>
          </p:cNvPr>
          <p:cNvSpPr txBox="1"/>
          <p:nvPr userDrawn="1"/>
        </p:nvSpPr>
        <p:spPr>
          <a:xfrm>
            <a:off x="2286000" y="3273186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</p:spTree>
    <p:extLst>
      <p:ext uri="{BB962C8B-B14F-4D97-AF65-F5344CB8AC3E}">
        <p14:creationId xmlns:p14="http://schemas.microsoft.com/office/powerpoint/2010/main" val="1205467028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499220" y="1489630"/>
            <a:ext cx="3780000" cy="198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19610" y="1345630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4079344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935344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690960" y="1484528"/>
            <a:ext cx="3780000" cy="198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31610" y="1340528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4074242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930242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3761567-A86E-8135-81C0-CED87D942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9220" y="149424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39EA05E9-C0CF-B205-9E7E-8B816F7B20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4079344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17782BBF-59ED-E546-3B38-B34A7198A4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4074242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F31F0DA6-235C-D84C-A077-7A122B020A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93376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pour une image  33">
            <a:extLst>
              <a:ext uri="{FF2B5EF4-FFF2-40B4-BE49-F238E27FC236}">
                <a16:creationId xmlns:a16="http://schemas.microsoft.com/office/drawing/2014/main" xmlns="" id="{E9E8A424-C49F-EA75-7E06-53BC7826807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43772" y="910326"/>
            <a:ext cx="720000" cy="720000"/>
          </a:xfrm>
          <a:prstGeom prst="ellipse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0415471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150228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6838" y="150738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3322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452517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543610" y="1488634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5330" y="3250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841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130" y="144164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998287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811366" y="321394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1366" y="323604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808698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C2ADEA47-53F7-0AF0-3372-8233D45817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70990D1D-7C73-EE33-8D5B-6391F064BC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17C0A59E-DC27-E4F2-BC37-CE6B27DC4D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E9D0546D-8442-4A6F-F0D1-77FAF613F2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CB811CDB-4C95-517D-D592-BCC10856CA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F179832-ADCB-6435-7E3C-B36F156DA0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62576040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543610" y="3225868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321759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85897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xmlns="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xmlns="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xmlns="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xmlns="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xmlns="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27807273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533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319630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193394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A34270BF-566C-8548-6695-5672B306B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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8F8C17C2-62D1-261B-0BE2-6F7839D218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1596194A-BC5F-19D0-0F1C-F6CFBDF3F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3" name="Espace réservé du texte 29">
            <a:extLst>
              <a:ext uri="{FF2B5EF4-FFF2-40B4-BE49-F238E27FC236}">
                <a16:creationId xmlns:a16="http://schemas.microsoft.com/office/drawing/2014/main" xmlns="" id="{34C5ECAB-EDC5-9A06-999D-04F572C33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du texte 29">
            <a:extLst>
              <a:ext uri="{FF2B5EF4-FFF2-40B4-BE49-F238E27FC236}">
                <a16:creationId xmlns:a16="http://schemas.microsoft.com/office/drawing/2014/main" xmlns="" id="{99EB5DB0-28F2-A2FD-2E29-86534A50C8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5" name="Espace réservé du texte 29">
            <a:extLst>
              <a:ext uri="{FF2B5EF4-FFF2-40B4-BE49-F238E27FC236}">
                <a16:creationId xmlns:a16="http://schemas.microsoft.com/office/drawing/2014/main" xmlns="" id="{0B82F83A-7D6E-997A-6DFD-98486DA5B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8007227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B3E04AEF-3D7B-CC0B-3E3B-A996165D64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28580070-8848-A3B0-7630-F76B09ACF7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C4EAC4BD-29C1-3422-DCEA-C45FE014E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74D66651-4E8C-0C81-2EBA-9F6CD1A3F6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8126728D-C7ED-6A6E-E6ED-BBFAD53EF9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28E6E001-28B8-A0DE-47D1-643F13001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9595563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xmlns="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xmlns="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xmlns="" id="{C7615D05-760F-5459-4F8E-1CF5EDB8AF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xmlns="" id="{78400896-B348-E5C1-B9FC-5CB0523109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xmlns="" id="{D53A59A5-B33B-614B-D743-FB8C0BB852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xmlns="" id="{153E3310-842C-57DB-DE50-3B4B74672F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xmlns="" id="{E431787E-F15B-5728-2A25-45776ECDE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xmlns="" id="{D5CE94EE-E532-793C-25E0-3E866F051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8582477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927009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391296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xmlns="" id="{E9371ADD-26AE-A577-29B9-449852C9B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-  02 </a:t>
            </a:r>
            <a:r>
              <a:rPr lang="a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  <a:endParaRPr lang="fr-MA" dirty="0"/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xmlns="" id="{E757B3EF-85ED-79B4-F526-70739A899F2A}"/>
              </a:ext>
            </a:extLst>
          </p:cNvPr>
          <p:cNvSpPr/>
          <p:nvPr userDrawn="1"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xmlns="" id="{E002657C-3C1F-4D99-A0E2-77679A65AE23}"/>
              </a:ext>
            </a:extLst>
          </p:cNvPr>
          <p:cNvSpPr/>
          <p:nvPr userDrawn="1"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B4A1D94F-62B1-C6D0-7E0F-52D1F997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68" r="-4368"/>
          <a:stretch>
            <a:fillRect/>
          </a:stretch>
        </p:blipFill>
        <p:spPr>
          <a:xfrm>
            <a:off x="7566858" y="2871353"/>
            <a:ext cx="972000" cy="900000"/>
          </a:xfrm>
          <a:prstGeom prst="rect">
            <a:avLst/>
          </a:prstGeom>
        </p:spPr>
      </p:pic>
      <p:pic>
        <p:nvPicPr>
          <p:cNvPr id="9" name="Espace réservé pour une image  20">
            <a:extLst>
              <a:ext uri="{FF2B5EF4-FFF2-40B4-BE49-F238E27FC236}">
                <a16:creationId xmlns:a16="http://schemas.microsoft.com/office/drawing/2014/main" xmlns="" id="{44DC88C6-5707-86F7-D833-5641FA28E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26" r="-7526"/>
          <a:stretch>
            <a:fillRect/>
          </a:stretch>
        </p:blipFill>
        <p:spPr>
          <a:xfrm>
            <a:off x="410748" y="3027833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017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xmlns="" id="{DEE5DF2A-A2C5-9DDC-2526-F329CE533D62}"/>
              </a:ext>
            </a:extLst>
          </p:cNvPr>
          <p:cNvGrpSpPr/>
          <p:nvPr userDrawn="1"/>
        </p:nvGrpSpPr>
        <p:grpSpPr>
          <a:xfrm>
            <a:off x="1748749" y="4368679"/>
            <a:ext cx="5368645" cy="1013653"/>
            <a:chOff x="1748749" y="1791236"/>
            <a:chExt cx="5368645" cy="1013653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xmlns="" id="{0F869710-FE9A-677D-2DED-7221C5922D8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xmlns="" id="{77F6BDE5-2CD1-90CD-2054-C65021FC3B1E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xmlns="" id="{64F060CB-5859-7A1C-1945-399BF4432E18}"/>
              </a:ext>
            </a:extLst>
          </p:cNvPr>
          <p:cNvGrpSpPr/>
          <p:nvPr userDrawn="1"/>
        </p:nvGrpSpPr>
        <p:grpSpPr>
          <a:xfrm>
            <a:off x="1748749" y="3100374"/>
            <a:ext cx="5368645" cy="1013653"/>
            <a:chOff x="1748749" y="1791236"/>
            <a:chExt cx="5368645" cy="1013653"/>
          </a:xfrm>
        </p:grpSpPr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xmlns="" id="{6C7D7D1B-54A2-EE56-FF38-BA1C4D631D96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xmlns="" id="{EBF7EB9F-D0CB-C146-C0DF-1FEA97915CD3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5A53ADCC-F9EE-1544-60CF-B13B748987BA}"/>
              </a:ext>
            </a:extLst>
          </p:cNvPr>
          <p:cNvGrpSpPr/>
          <p:nvPr userDrawn="1"/>
        </p:nvGrpSpPr>
        <p:grpSpPr>
          <a:xfrm>
            <a:off x="1748749" y="1791236"/>
            <a:ext cx="5368645" cy="1013653"/>
            <a:chOff x="1748749" y="1791236"/>
            <a:chExt cx="5368645" cy="1013653"/>
          </a:xfrm>
        </p:grpSpPr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xmlns="" id="{5C479736-F023-78FA-4D69-3C86D60DBD0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xmlns="" id="{631E814A-6B8A-876F-B330-D29CBCDCBA25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انشطة اعتيادية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xmlns="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7AA3FD7D-A058-EEFF-B5E0-B9773B884245}"/>
              </a:ext>
            </a:extLst>
          </p:cNvPr>
          <p:cNvSpPr txBox="1"/>
          <p:nvPr userDrawn="1"/>
        </p:nvSpPr>
        <p:spPr>
          <a:xfrm>
            <a:off x="5548330" y="3100065"/>
            <a:ext cx="8787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Extra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xmlns="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xmlns="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xmlns="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9315594-663F-76C6-60A7-A64669BD4407}"/>
              </a:ext>
            </a:extLst>
          </p:cNvPr>
          <p:cNvSpPr txBox="1"/>
          <p:nvPr userDrawn="1"/>
        </p:nvSpPr>
        <p:spPr>
          <a:xfrm>
            <a:off x="5065827" y="4376851"/>
            <a:ext cx="13612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xmlns="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27ED9F1C-25D9-EA0F-66D1-D7D3BB3AC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-13143" r="-13143"/>
          <a:stretch>
            <a:fillRect/>
          </a:stretch>
        </p:blipFill>
        <p:spPr>
          <a:xfrm>
            <a:off x="6589204" y="4424575"/>
            <a:ext cx="5364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1618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xmlns="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05828042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xmlns="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xmlns="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8460319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image" Target="../media/image3.bin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jp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image" Target="../media/image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image" Target="../media/image12.jpg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image" Target="../media/image3.bin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image" Target="../media/image3.bin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image" Target="../media/image3.bin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xmlns="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20775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xmlns="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9254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7D3BCD8-9868-4174-A461-8C04FAF3A9DD}" type="datetimeFigureOut">
              <a:rPr lang="fr-FR" smtClean="0"/>
              <a:pPr/>
              <a:t>10/01/2026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0B60BE7-EAD2-4C3B-A9F2-B2A20B3BFA2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514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3" r:id="rId12"/>
    <p:sldLayoutId id="214748372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840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xmlns="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2311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8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xmlns="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9694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xmlns="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84337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xmlns="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2300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25.png"/><Relationship Id="rId7" Type="http://schemas.openxmlformats.org/officeDocument/2006/relationships/image" Target="../media/image3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2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2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2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microsoft.com/office/2007/relationships/hdphoto" Target="../media/hdphoto7.wdp"/><Relationship Id="rId7" Type="http://schemas.openxmlformats.org/officeDocument/2006/relationships/image" Target="../media/image2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4.png"/><Relationship Id="rId5" Type="http://schemas.microsoft.com/office/2007/relationships/hdphoto" Target="../media/hdphoto8.wdp"/><Relationship Id="rId10" Type="http://schemas.openxmlformats.org/officeDocument/2006/relationships/image" Target="../media/image28.png"/><Relationship Id="rId4" Type="http://schemas.openxmlformats.org/officeDocument/2006/relationships/image" Target="../media/image35.png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25.png"/><Relationship Id="rId7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microsoft.com/office/2007/relationships/hdphoto" Target="../media/hdphoto8.wdp"/><Relationship Id="rId4" Type="http://schemas.openxmlformats.org/officeDocument/2006/relationships/image" Target="../media/image26.png"/><Relationship Id="rId9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25.png"/><Relationship Id="rId7" Type="http://schemas.openxmlformats.org/officeDocument/2006/relationships/image" Target="../media/image4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25.png"/><Relationship Id="rId7" Type="http://schemas.openxmlformats.org/officeDocument/2006/relationships/image" Target="../media/image4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25.png"/><Relationship Id="rId7" Type="http://schemas.openxmlformats.org/officeDocument/2006/relationships/image" Target="../media/image4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25.png"/><Relationship Id="rId7" Type="http://schemas.openxmlformats.org/officeDocument/2006/relationships/image" Target="../media/image4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3" Type="http://schemas.openxmlformats.org/officeDocument/2006/relationships/image" Target="../media/image25.png"/><Relationship Id="rId7" Type="http://schemas.openxmlformats.org/officeDocument/2006/relationships/image" Target="../media/image4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3" Type="http://schemas.openxmlformats.org/officeDocument/2006/relationships/image" Target="../media/image25.png"/><Relationship Id="rId7" Type="http://schemas.openxmlformats.org/officeDocument/2006/relationships/image" Target="../media/image4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25.png"/><Relationship Id="rId7" Type="http://schemas.openxmlformats.org/officeDocument/2006/relationships/image" Target="../media/image4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3" Type="http://schemas.openxmlformats.org/officeDocument/2006/relationships/image" Target="../media/image25.png"/><Relationship Id="rId7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3" Type="http://schemas.openxmlformats.org/officeDocument/2006/relationships/image" Target="../media/image25.png"/><Relationship Id="rId7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15.wdp"/><Relationship Id="rId3" Type="http://schemas.openxmlformats.org/officeDocument/2006/relationships/image" Target="../media/image25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15.wdp"/><Relationship Id="rId3" Type="http://schemas.openxmlformats.org/officeDocument/2006/relationships/image" Target="../media/image25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3" Type="http://schemas.openxmlformats.org/officeDocument/2006/relationships/image" Target="../media/image25.png"/><Relationship Id="rId7" Type="http://schemas.openxmlformats.org/officeDocument/2006/relationships/image" Target="../media/image4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3" Type="http://schemas.openxmlformats.org/officeDocument/2006/relationships/image" Target="../media/image25.png"/><Relationship Id="rId7" Type="http://schemas.openxmlformats.org/officeDocument/2006/relationships/image" Target="../media/image4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25.png"/><Relationship Id="rId7" Type="http://schemas.openxmlformats.org/officeDocument/2006/relationships/image" Target="../media/image3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hdphoto" Target="../media/hdphoto17.wdp"/><Relationship Id="rId3" Type="http://schemas.openxmlformats.org/officeDocument/2006/relationships/image" Target="../media/image25.png"/><Relationship Id="rId7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hdphoto" Target="../media/hdphoto17.wdp"/><Relationship Id="rId3" Type="http://schemas.openxmlformats.org/officeDocument/2006/relationships/image" Target="../media/image25.png"/><Relationship Id="rId7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hdphoto" Target="../media/hdphoto18.wdp"/><Relationship Id="rId3" Type="http://schemas.openxmlformats.org/officeDocument/2006/relationships/image" Target="../media/image25.png"/><Relationship Id="rId7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8.wdp"/><Relationship Id="rId3" Type="http://schemas.openxmlformats.org/officeDocument/2006/relationships/image" Target="../media/image25.png"/><Relationship Id="rId7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hdphoto" Target="../media/hdphoto18.wdp"/><Relationship Id="rId3" Type="http://schemas.openxmlformats.org/officeDocument/2006/relationships/image" Target="../media/image25.png"/><Relationship Id="rId7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hdphoto" Target="../media/hdphoto18.wdp"/><Relationship Id="rId3" Type="http://schemas.openxmlformats.org/officeDocument/2006/relationships/image" Target="../media/image25.png"/><Relationship Id="rId7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8.png"/><Relationship Id="rId4" Type="http://schemas.openxmlformats.org/officeDocument/2006/relationships/image" Target="../media/image2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4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5.png"/><Relationship Id="rId7" Type="http://schemas.openxmlformats.org/officeDocument/2006/relationships/image" Target="../media/image5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11" Type="http://schemas.openxmlformats.org/officeDocument/2006/relationships/image" Target="../media/image54.png"/><Relationship Id="rId5" Type="http://schemas.openxmlformats.org/officeDocument/2006/relationships/image" Target="../media/image27.png"/><Relationship Id="rId10" Type="http://schemas.openxmlformats.org/officeDocument/2006/relationships/image" Target="../media/image53.png"/><Relationship Id="rId4" Type="http://schemas.openxmlformats.org/officeDocument/2006/relationships/image" Target="../media/image26.png"/><Relationship Id="rId9" Type="http://schemas.openxmlformats.org/officeDocument/2006/relationships/image" Target="../media/image52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5.png"/><Relationship Id="rId7" Type="http://schemas.openxmlformats.org/officeDocument/2006/relationships/image" Target="../media/image5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11" Type="http://schemas.openxmlformats.org/officeDocument/2006/relationships/image" Target="../media/image54.png"/><Relationship Id="rId5" Type="http://schemas.openxmlformats.org/officeDocument/2006/relationships/image" Target="../media/image27.png"/><Relationship Id="rId10" Type="http://schemas.openxmlformats.org/officeDocument/2006/relationships/image" Target="../media/image53.png"/><Relationship Id="rId4" Type="http://schemas.openxmlformats.org/officeDocument/2006/relationships/image" Target="../media/image26.png"/><Relationship Id="rId9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0.xml.rels><?xml version="1.0" encoding="UTF-8" standalone="yes"?>
<Relationships xmlns="http://schemas.openxmlformats.org/package/2006/relationships"><Relationship Id="rId8" Type="http://schemas.microsoft.com/office/2007/relationships/hdphoto" Target="../media/hdphoto19.wdp"/><Relationship Id="rId3" Type="http://schemas.openxmlformats.org/officeDocument/2006/relationships/image" Target="../media/image25.png"/><Relationship Id="rId7" Type="http://schemas.openxmlformats.org/officeDocument/2006/relationships/image" Target="../media/image5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hdphoto" Target="../media/hdphoto20.wdp"/><Relationship Id="rId3" Type="http://schemas.openxmlformats.org/officeDocument/2006/relationships/image" Target="../media/image25.png"/><Relationship Id="rId7" Type="http://schemas.openxmlformats.org/officeDocument/2006/relationships/image" Target="../media/image5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5.png"/><Relationship Id="rId7" Type="http://schemas.openxmlformats.org/officeDocument/2006/relationships/diagramData" Target="../diagrams/data1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9.png"/><Relationship Id="rId11" Type="http://schemas.microsoft.com/office/2007/relationships/diagramDrawing" Target="../diagrams/drawing1.xml"/><Relationship Id="rId5" Type="http://schemas.openxmlformats.org/officeDocument/2006/relationships/image" Target="../media/image27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26.png"/><Relationship Id="rId9" Type="http://schemas.openxmlformats.org/officeDocument/2006/relationships/diagramQuickStyle" Target="../diagrams/quickStyle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gif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0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21.xml"/><Relationship Id="rId7" Type="http://schemas.openxmlformats.org/officeDocument/2006/relationships/image" Target="../media/image2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4.png"/><Relationship Id="rId5" Type="http://schemas.openxmlformats.org/officeDocument/2006/relationships/image" Target="../media/image59.gif"/><Relationship Id="rId10" Type="http://schemas.openxmlformats.org/officeDocument/2006/relationships/image" Target="../media/image60.png"/><Relationship Id="rId4" Type="http://schemas.openxmlformats.org/officeDocument/2006/relationships/image" Target="../media/image58.png"/><Relationship Id="rId9" Type="http://schemas.openxmlformats.org/officeDocument/2006/relationships/image" Target="../media/image2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6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33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25.png"/><Relationship Id="rId7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microsoft.com/office/2007/relationships/hdphoto" Target="../media/hdphoto8.wdp"/><Relationship Id="rId4" Type="http://schemas.openxmlformats.org/officeDocument/2006/relationships/image" Target="../media/image26.png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823CECF-6281-AE95-5716-E5159DC373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2" b="3876"/>
          <a:stretch>
            <a:fillRect/>
          </a:stretch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9691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561FB0D-A4FE-13BB-3265-08FF8BCF0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00B06F8D-9579-5117-BFC5-0BA05B2A3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31" y="756000"/>
            <a:ext cx="7005842" cy="612000"/>
          </a:xfrm>
        </p:spPr>
        <p:txBody>
          <a:bodyPr>
            <a:no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ِقرؤوا النص والفقرة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قراءة صامتة ؛لتتمكنوا من الإجابة عن أسئل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189D8C4D-F3E2-3565-AEFC-18CFCE533A8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0805A2DC-7B17-EC33-CC39-F8EFB083C5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310F528E-2794-FC7A-3733-927AE3562EC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781079C-1DF9-41BB-1B0C-65F343A07E7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A132D184-D105-AA1B-3FF0-465A1B4C1EC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E06382B-2732-5B1D-C582-9724C6CD73F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B39ADAE-FD53-5AE1-9548-BDDE9EF86D7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F2BF616-27C7-330E-2049-6658A7DF63D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2">
            <a:extLst>
              <a:ext uri="{FF2B5EF4-FFF2-40B4-BE49-F238E27FC236}">
                <a16:creationId xmlns:a16="http://schemas.microsoft.com/office/drawing/2014/main" xmlns="" id="{057E7524-1FAC-67D1-CF24-22DCFA80F07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CDC45745-130C-2101-83BA-5748515891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68963" y="1345836"/>
            <a:ext cx="6036906" cy="513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33815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05BF0DB-E553-DCA4-A9F7-4C5165CD3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630A8E4B-8BED-D5A1-6357-B1CB618FF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نشاط الأول:  اضبطوا كلمات الفقرة بالشكل التام.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/>
            </a:r>
            <a:b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كتب الفقرة على السبورة.</a:t>
            </a:r>
            <a:endParaRPr lang="fr-FR" sz="2400" i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54B3C171-70B2-3832-C66B-37D14F6B981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7D3ADC61-4EB6-54D0-E07E-83A1880E95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9883E053-0548-37D9-3637-CF9FB864C08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1052F891-44A8-E889-3145-4D737E02B47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CE5732D-9465-3D97-3134-166CBC49ED6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D1840CF-76CC-8790-DF1F-B65CD680BF2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5DCE641-3AA1-ADD0-38C0-55F45C205A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9510CAD-77A0-0394-68AD-E8B884B88DC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xmlns="" id="{EF3E40C8-560C-C692-D931-E4A151C56A0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0F6B7CD0-5447-D72C-E124-C515820F43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1670" y="2756793"/>
            <a:ext cx="8380660" cy="159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037499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43C6CBB-5967-F0A7-3929-31EEEDC51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DDE7EE44-31B9-FBFA-0E8F-F1B7CF47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BA614455-0C17-981D-8F41-2C5F55F8ED1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D6F2A03-627A-DCDF-AA39-134EE9991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AC892424-0017-C60B-16B1-FD99F4ACAA9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4673DA0C-C323-E206-258F-6D275560BF7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FE5FC27-C86D-8EBE-4627-51272CE79BF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92C1608-435A-732F-9092-8EDBCF92123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CF3078D-3A32-60A6-95E2-E64A44A09EE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4572854-153A-5665-45CC-04C6D9284D8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xmlns="" id="{9A451E50-BCEC-636C-28C3-65B24CD4BD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9B9373DB-1149-FD4C-06D7-35F6526E06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1670" y="2756793"/>
            <a:ext cx="8380660" cy="159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35086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0E52A05-BAAA-06F2-A19C-6A81D71B6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35C8A5F3-C041-E219-2410-57F00BFF1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صحح 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2DA39E2C-7B92-818A-E79E-D6073DB3B0C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CED51BB3-03A0-F9C7-41FF-C89D38E4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60F57510-5823-0EDA-0ED9-5F3D50A964F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56E5AB6-53EA-E4C3-C0F9-479BD483D66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A859BC1-1F17-8FBE-65F0-A4B328ECFD2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B0DB3AE-6E5C-1E7A-9385-E2BE0302A38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592F2CD-9815-09A6-A329-4DFE40060C1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35203C3-2BFE-35FC-0A6A-4522803FB04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7">
            <a:extLst>
              <a:ext uri="{FF2B5EF4-FFF2-40B4-BE49-F238E27FC236}">
                <a16:creationId xmlns:a16="http://schemas.microsoft.com/office/drawing/2014/main" xmlns="" id="{2AC7FF7B-26CD-936C-C9DB-12F96E67BF4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E2FF619B-31BB-479E-BDA9-900DA54A6B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1670" y="2756793"/>
            <a:ext cx="8380660" cy="159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0152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3E0EABB-45E2-77F7-58A6-93195F82B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A450D233-4A7B-4B80-38BB-B419BF919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أخطاءكم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9159C2A7-CD47-8E51-517C-F200FDD2EF2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6F07028B-AE1C-E7F4-5C85-21CD6B020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5C680E9D-2C3D-6208-722A-ACD45185A2C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B1E4BD4F-1A00-0DDC-DF46-0496854FE46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2300F34-232F-EB92-75E7-3333E69E85F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9C70520-A240-7E42-6EA6-D19B7D14D1A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7F95A1F-0928-3486-D07A-E78BECE6B56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FFA3002-9F08-D5A0-9170-10650D4271B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FF850F78-1CE6-413F-1318-60BE52876D2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6A882228-D787-34FF-FDF8-536FBD730872}"/>
              </a:ext>
            </a:extLst>
          </p:cNvPr>
          <p:cNvSpPr txBox="1"/>
          <p:nvPr/>
        </p:nvSpPr>
        <p:spPr>
          <a:xfrm>
            <a:off x="395433" y="1925518"/>
            <a:ext cx="8435860" cy="3452574"/>
          </a:xfrm>
          <a:prstGeom prst="roundRect">
            <a:avLst>
              <a:gd name="adj" fmla="val 697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َيُؤَكِّدُ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عُلَماءُ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أَنَّ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إِنسانَ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أَوَّلَ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كانَ يَلُفُّ أَوْراقَ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أَشْجار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نّاعِمَةَ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حَوْلَ قَدَمَيْهِ لِحِمايَتِهِما مِنَ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حَرارَة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، وَفي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مَناطِق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بارِدَة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كانَ يَلُفُّ فِراءَ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حَيَوانات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بْتِغاءَ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دِّفْءِ</a:t>
            </a: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85118154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B49775A-8D76-CF57-5955-1354FC8A9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xmlns="" id="{0D421D11-066F-BD97-5FFC-F1F475642E7C}"/>
              </a:ext>
            </a:extLst>
          </p:cNvPr>
          <p:cNvGrpSpPr/>
          <p:nvPr/>
        </p:nvGrpSpPr>
        <p:grpSpPr>
          <a:xfrm>
            <a:off x="864331" y="1584325"/>
            <a:ext cx="6734800" cy="4823878"/>
            <a:chOff x="867013" y="1502252"/>
            <a:chExt cx="6734800" cy="4823878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xmlns="" id="{475113A0-AD6C-9617-8D87-FD1AE1600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57275" y="1502252"/>
              <a:ext cx="3444538" cy="4808637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xmlns="" id="{C624A8D1-AFEC-5C22-5ABB-BA6C97A8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7013" y="1502252"/>
              <a:ext cx="3429297" cy="4823878"/>
            </a:xfrm>
            <a:prstGeom prst="rect">
              <a:avLst/>
            </a:prstGeom>
          </p:spPr>
        </p:pic>
      </p:grpSp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FC7CCDDB-56BD-FCAA-1706-99D3D8EC4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. ستجيبون عن أسئلة المعجم و الفهم.   لديكم 20 دقيقة للإ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جاز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92D0E876-872B-9B94-9716-E73080B85DB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4C0E34F7-3226-625A-187F-2364C546C1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F01109B6-CEFD-BF59-BE9F-0737084E4D8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7242C336-F151-C431-558F-730EB9C957E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4DD376F-FC94-8CF7-455E-448C9BFA85F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62198FC-0FD0-CB45-3BD4-D82343A93B7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215972-6CA1-1632-3721-42A323A75CF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4D579A1-F247-4714-E9B7-4A21DB9EAA7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8" name="Espace réservé pour une image  14">
            <a:extLst>
              <a:ext uri="{FF2B5EF4-FFF2-40B4-BE49-F238E27FC236}">
                <a16:creationId xmlns:a16="http://schemas.microsoft.com/office/drawing/2014/main" xmlns="" id="{AE14DEB3-1753-95E5-063D-6884C940030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53B60636-61FB-8BCC-CE62-CB170EEC1A0E}"/>
              </a:ext>
            </a:extLst>
          </p:cNvPr>
          <p:cNvSpPr/>
          <p:nvPr/>
        </p:nvSpPr>
        <p:spPr>
          <a:xfrm>
            <a:off x="4296310" y="4969041"/>
            <a:ext cx="3139697" cy="1227221"/>
          </a:xfrm>
          <a:prstGeom prst="roundRect">
            <a:avLst>
              <a:gd name="adj" fmla="val 757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xmlns="" id="{5DFD98AD-7D92-C493-BF1B-085AC3700FF4}"/>
              </a:ext>
            </a:extLst>
          </p:cNvPr>
          <p:cNvSpPr/>
          <p:nvPr/>
        </p:nvSpPr>
        <p:spPr>
          <a:xfrm>
            <a:off x="806111" y="2071442"/>
            <a:ext cx="3245813" cy="3029947"/>
          </a:xfrm>
          <a:prstGeom prst="roundRect">
            <a:avLst>
              <a:gd name="adj" fmla="val 757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777264077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9CBE186-7ADF-A240-C606-EDE5B35375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EF491A1A-BCB0-4F28-EFFE-4B8793EBA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عكم مهلة للتفكير. سأمر بين الصفوف لتقديم المساعدة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FBF41B0D-D6C7-D6CC-D227-F0ED7846DB6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8FDCB-F3C5-CE4F-FF6E-435F3EAB98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DBFD1F0-427E-0104-3D9E-2E26041A6E7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BD628EC9-47C3-383E-A6A7-3A68FA15535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A3781EB-3602-0148-3E15-32CEE20CD72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BB24D15-13FA-A3DB-9B72-100C1BC17C3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ABDCDCE-FFB0-2339-93AD-B84E40E0CEE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16F7D17-BDB8-F391-CFAB-38869E30FDE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8" name="Espace réservé pour une image  14">
            <a:extLst>
              <a:ext uri="{FF2B5EF4-FFF2-40B4-BE49-F238E27FC236}">
                <a16:creationId xmlns:a16="http://schemas.microsoft.com/office/drawing/2014/main" xmlns="" id="{15B593F5-1286-1D4A-EC50-060D3926343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xmlns="" id="{2E7D9818-52F3-8A5A-92B3-B4F18D6B0188}"/>
              </a:ext>
            </a:extLst>
          </p:cNvPr>
          <p:cNvGrpSpPr/>
          <p:nvPr/>
        </p:nvGrpSpPr>
        <p:grpSpPr>
          <a:xfrm>
            <a:off x="864331" y="1584325"/>
            <a:ext cx="6734800" cy="4823878"/>
            <a:chOff x="867013" y="1502252"/>
            <a:chExt cx="6734800" cy="4823878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xmlns="" id="{B5635F4F-CB21-4716-1A80-12CEC81CD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57275" y="1502252"/>
              <a:ext cx="3444538" cy="4808637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xmlns="" id="{FB65A9BA-8F8B-2611-F4F5-8962104EC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7013" y="1502252"/>
              <a:ext cx="3429297" cy="4823878"/>
            </a:xfrm>
            <a:prstGeom prst="rect">
              <a:avLst/>
            </a:prstGeom>
          </p:spPr>
        </p:pic>
      </p:grp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xmlns="" id="{2F4DDDB2-AA92-D644-EF52-2E1F5898AE2A}"/>
              </a:ext>
            </a:extLst>
          </p:cNvPr>
          <p:cNvSpPr/>
          <p:nvPr/>
        </p:nvSpPr>
        <p:spPr>
          <a:xfrm>
            <a:off x="4296310" y="4969041"/>
            <a:ext cx="3139697" cy="1227221"/>
          </a:xfrm>
          <a:prstGeom prst="roundRect">
            <a:avLst>
              <a:gd name="adj" fmla="val 757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xmlns="" id="{17D5746A-A4D1-37E1-85BE-23E67828C23C}"/>
              </a:ext>
            </a:extLst>
          </p:cNvPr>
          <p:cNvSpPr/>
          <p:nvPr/>
        </p:nvSpPr>
        <p:spPr>
          <a:xfrm>
            <a:off x="806111" y="2071442"/>
            <a:ext cx="3245813" cy="3029947"/>
          </a:xfrm>
          <a:prstGeom prst="roundRect">
            <a:avLst>
              <a:gd name="adj" fmla="val 757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34606943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CE4A33F-D367-026D-8C83-C0D48B594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A91A9B51-CE66-68C4-FDC4-391A3B581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ان. من يجيب عن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أول</a:t>
            </a: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 هل أنتم متفقون 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5DF6978D-D3BA-922F-8197-A06AC111711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62CB7CC1-A67E-4E1B-9B5C-A5CDD0AA7E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B500ECC0-ACFC-0516-3C8D-A004D64E5B8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62D2D59-9E38-DAC5-C3FD-92FB9A121C3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D00A036-8D49-FABE-A00E-9ACA08EF4A0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D9B5374-4B6F-2B6E-E2BA-846DDFBAE12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D5C7886-CDC7-547A-20E3-0C3A68407D5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7C01E4E-137B-8C57-1D64-F30F67CC44C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D6701E06-BB57-133C-2F07-F781377803B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ECE8AAF5-FE2E-D3FD-D02E-C2BD389B0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0747" y="2634916"/>
            <a:ext cx="8242648" cy="238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52760"/>
      </p:ext>
    </p:extLst>
  </p:cSld>
  <p:clrMapOvr>
    <a:masterClrMapping/>
  </p:clrMapOvr>
  <p:transition spd="slow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7EF5DA6-88F5-A97A-C91D-0E523148C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14A6126A-328F-A9AB-822A-1FC77C30A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DBFE8A63-7E04-D155-4A1D-269B1F48E29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608A91D-22DE-2542-06F7-2F66E306E0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82A65B1-431F-DA51-9C74-F3030FFD919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FFDDFC82-A268-350F-C6F1-43E96B4A3C8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12D7F6C-0655-959B-EFAB-DF7822A3DFF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1A900B4-7B2D-E05E-BADD-18D2946CFBE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CB52A5B-672C-E363-EBE9-3E2279DFBDF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BB2933-C244-90BB-CCF1-011BC35F15C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36A87359-303C-609A-D335-B9DCB5937F9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F35E3593-5117-6A0E-2C81-C07ED5A297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0676" y="2683042"/>
            <a:ext cx="8242648" cy="23849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72EF90C-DEEB-1149-71DB-4E92A64A181F}"/>
              </a:ext>
            </a:extLst>
          </p:cNvPr>
          <p:cNvSpPr/>
          <p:nvPr/>
        </p:nvSpPr>
        <p:spPr>
          <a:xfrm>
            <a:off x="3377590" y="2735176"/>
            <a:ext cx="677050" cy="69272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0755031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3654161-E1B7-0604-D667-1F2F28E03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71D5831D-AEAE-281C-B363-87DA37918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جيب عن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ني</a:t>
            </a: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 هل أنتم متفقون 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8D014A84-CDAE-1E27-233F-D69A81865DF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9971BBEF-76E1-8CAC-0349-D9366CE76F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5B029CB0-117C-21C9-B398-ECAB39AF40B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C4F60FA6-116C-1F59-0383-664A16A1C43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0AA0AF6-B237-7F89-C622-CD026A3B574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5645C06-6DD1-01BA-83B9-827613DB7DA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CE48E44-1196-D9D6-5844-E3CAB15E59C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D56A804-957A-6963-1A64-B053030587E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463789EE-5C02-A01A-481A-AD86F878DF1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BD21F54B-5A04-9F8F-FD97-46F75E1585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0676" y="2683042"/>
            <a:ext cx="8242648" cy="23849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52273C8-C919-F846-3C30-EFE761C8579F}"/>
              </a:ext>
            </a:extLst>
          </p:cNvPr>
          <p:cNvSpPr/>
          <p:nvPr/>
        </p:nvSpPr>
        <p:spPr>
          <a:xfrm>
            <a:off x="3377590" y="2735176"/>
            <a:ext cx="677050" cy="69272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192668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DDD66D4-6EAC-890C-3DAF-1CB34FC9D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1EE4A397-21FA-CF72-B01A-7485FDDE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756000"/>
            <a:ext cx="7039236" cy="612000"/>
          </a:xfrm>
        </p:spPr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الصفحة 114. سأتحقق من درجة تحكمكم من بعض التعلمات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82A47BC-11A4-D699-47E4-ACF7FC8C7C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02953472-91C0-F996-F894-7933A552D8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F980D037-E7AA-8B76-DFED-816FFE528CB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36E035D8-8D1B-B70D-C857-D1542CCA9FB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964585D-4F35-65B1-4B0E-2857CFBB5B4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فتتاح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ar-MA" sz="1600" b="1" dirty="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E96495D-7D9B-BB42-7C20-B20682F83BC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565F88">
                    <a:alpha val="2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راجعة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ar-MA" sz="1600" b="1" dirty="0">
                <a:solidFill>
                  <a:srgbClr val="565F88">
                    <a:alpha val="2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0B33D57-7972-5F2C-D032-49F73D3AD31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9A596-196B-2D10-7631-7413B54FCD6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xmlns="" id="{1567F272-58DC-64E5-D128-9C0561DF534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7FAAEFAF-FB1F-445D-DD72-67F60EBFE7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35107" y="1896533"/>
            <a:ext cx="3018943" cy="42751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6104809"/>
      </p:ext>
    </p:extLst>
  </p:cSld>
  <p:clrMapOvr>
    <a:masterClrMapping/>
  </p:clrMapOvr>
  <p:transition spd="slow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D9B95F5-B021-6257-80C4-60CB1728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1425A897-CFB4-1137-E51F-CBCEBC61C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210C3477-18C0-938E-7354-FB665A19A84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BB9C8DB2-EC37-9DE7-38AF-21F5DC106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3F7D2A8B-7F84-6C78-5E9F-E6B6BEEDA4A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D1D402C-8F3F-3F7E-43CB-C794F061F8D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4146988-6753-6800-1B44-CC54EE09FDE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251189A-D0A5-0125-ED74-EA8361F4B74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5C3813A-C0FD-D961-2E9A-0F8920FFE40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3EDC3CB-6F23-95B6-AB7F-6418C51D6CF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71575A2D-2871-4AFD-D656-0E4DBCEE85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DACE43BD-6196-A71C-7F45-DFBB0520E8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0676" y="2683042"/>
            <a:ext cx="8242648" cy="23849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F4DE0F7-38A9-8305-52D2-2A45053D1498}"/>
              </a:ext>
            </a:extLst>
          </p:cNvPr>
          <p:cNvSpPr/>
          <p:nvPr/>
        </p:nvSpPr>
        <p:spPr>
          <a:xfrm>
            <a:off x="3377590" y="2735176"/>
            <a:ext cx="677050" cy="69272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CB8C8DEF-D2B8-8F49-CEB3-748DBD450265}"/>
              </a:ext>
            </a:extLst>
          </p:cNvPr>
          <p:cNvSpPr txBox="1"/>
          <p:nvPr/>
        </p:nvSpPr>
        <p:spPr>
          <a:xfrm>
            <a:off x="5570455" y="3681972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حِمايَةٌ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FBE653E-DA4B-7544-9CBF-B1E942182C96}"/>
              </a:ext>
            </a:extLst>
          </p:cNvPr>
          <p:cNvSpPr txBox="1"/>
          <p:nvPr/>
        </p:nvSpPr>
        <p:spPr>
          <a:xfrm>
            <a:off x="1128218" y="4215872"/>
            <a:ext cx="19922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≠</a:t>
            </a: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فَخامَةُ</a:t>
            </a: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.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CA59D723-FFFE-239B-EF3E-A192CD920AEB}"/>
              </a:ext>
            </a:extLst>
          </p:cNvPr>
          <p:cNvSpPr txBox="1"/>
          <p:nvPr/>
        </p:nvSpPr>
        <p:spPr>
          <a:xfrm>
            <a:off x="5172399" y="4215872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فِراءٌ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2036745-88A9-C584-4325-1DBD58EEC48D}"/>
              </a:ext>
            </a:extLst>
          </p:cNvPr>
          <p:cNvSpPr txBox="1"/>
          <p:nvPr/>
        </p:nvSpPr>
        <p:spPr>
          <a:xfrm>
            <a:off x="1002091" y="3681973"/>
            <a:ext cx="21612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≠</a:t>
            </a: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نّاعِمَةُ</a:t>
            </a: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1644871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0E31E36-5030-C63B-A1A4-505902DA7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FE7CD62C-A543-E548-E30E-236F68766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جيب عن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لث</a:t>
            </a: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 هل أنتم متفقون 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4A0A1818-4BD4-3BF5-394A-E77519AACBE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A998BD8B-F94A-7B1B-D0DC-7887C8EF10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FA215329-7FFB-D68C-EFBB-1C62AB1A6D2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F7A1BE80-8EC2-CBEB-2EBC-1F6BF226E78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B0C4988-E184-71CB-7FF2-A0C17A9FCCD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954698F-BC52-8187-7D1E-9C3C8975A88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D1F160E-D4E9-B69B-F5D0-9054D7AEC21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9C13993-1ED3-6A5D-8F15-DFB1DEB0A1C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4EBD8EE7-70C4-836D-9DA8-98C00A5C8E2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9F1919DE-B7AA-8F51-C26C-9CBBE8E4B6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235" y="2594734"/>
            <a:ext cx="8239529" cy="254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287597"/>
      </p:ext>
    </p:extLst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6BC091B-2835-FAF8-68A9-862BC55F5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D67ACC00-6641-AEE0-03B5-ABB7556F5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B925296C-3886-6F89-C2A7-2AA9BE5B4E7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AAE30C24-FB1C-B1FB-8998-6E82C29E05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29BA6B79-634F-BFFC-D1D7-D80AAC3DF4F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FD7E5688-45B5-0FDA-F65F-4FD7D12D629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612E93F-501B-CE81-E472-BB61038F8AC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10C63B-47D5-26BC-B4D5-78DF8E2EADB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ED85E9F-4892-9F56-43CA-44B947FEDF9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094767B-488F-00C0-90AA-C29CFFCC924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xmlns="" id="{630A7131-90AD-0066-A21A-B856F9562A0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C5BE39DB-60E3-750E-31A3-E9C2CB0D30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235" y="2594734"/>
            <a:ext cx="8239529" cy="254021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11A0F661-44F6-AEED-CDF1-13CDB6E31607}"/>
              </a:ext>
            </a:extLst>
          </p:cNvPr>
          <p:cNvSpPr txBox="1"/>
          <p:nvPr/>
        </p:nvSpPr>
        <p:spPr>
          <a:xfrm>
            <a:off x="4854643" y="3142328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دَعْوَةً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740C4AA5-E627-A7A9-3A2D-1DC7DD81401C}"/>
              </a:ext>
            </a:extLst>
          </p:cNvPr>
          <p:cNvSpPr txBox="1"/>
          <p:nvPr/>
        </p:nvSpPr>
        <p:spPr>
          <a:xfrm>
            <a:off x="1368823" y="4431678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ْمَشْيِِ</a:t>
            </a:r>
            <a:endParaRPr lang="fr-FR" sz="48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0FC3A69-27F0-1690-81CD-FC9D6879AA33}"/>
              </a:ext>
            </a:extLst>
          </p:cNvPr>
          <p:cNvSpPr txBox="1"/>
          <p:nvPr/>
        </p:nvSpPr>
        <p:spPr>
          <a:xfrm>
            <a:off x="3802513" y="4449069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8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ْجَرْيِ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F3249989-E8A5-5C75-3FEB-F877ACC1BA73}"/>
              </a:ext>
            </a:extLst>
          </p:cNvPr>
          <p:cNvSpPr txBox="1"/>
          <p:nvPr/>
        </p:nvSpPr>
        <p:spPr>
          <a:xfrm>
            <a:off x="5187786" y="3817251"/>
            <a:ext cx="1755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MA" sz="48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خْتِلافِ</a:t>
            </a: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04778280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1184E81-CAE0-EBDF-B10F-D81A3BE32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15370B1C-32F3-2303-E352-5A3F400A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تصحيح أسئلة الفهم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D5FA572C-0E48-8435-1BD9-C73942723B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F74E2E3-0435-F00C-11E2-E2701A83E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7EF2ABCB-37D9-C942-FE05-C6DD8041769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1D4B26A1-BDE3-C879-5769-168A3F59CCE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F99E8FC-7473-C987-3F96-C1480DC20D6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C2AF66F-592B-AC96-E6BE-059C95B2904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85789A6-1CD2-A74A-D3DD-187309AEB3F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E5BA884-FF3E-8570-0E87-BA0F31697DF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xmlns="" id="{443CA6DE-28E0-A023-3C5E-5CA69EEC106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037CBEAA-3963-9E8E-83F7-71607FA55F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4332" y="1914904"/>
            <a:ext cx="7282884" cy="4625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871076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ED061EA-FA33-45C4-53C1-FEC7C9270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7816E563-4104-EF87-93FB-E4948BAD9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جيب عن السؤال الأول؟ هل أنتم متفقون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9B02348-D1B3-117A-883C-A00F7049159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FF73EDBC-45FE-70A6-24D0-E378E6791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365D06B7-CDBF-98C9-D8FA-9BB0B617F6A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1C3B67D9-85EE-7B90-3913-0C96A4A5224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961F963-F48F-64FF-961C-DB550D9E4A8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B7879-E283-FC96-F4BD-0DAE17AAA43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B72DDA3-BA15-CAA2-36B8-DED1CB33ED2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CEC09D9-11EF-5134-06CB-59BB4714BF78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xmlns="" id="{6A76FE42-E875-C501-8158-BF334D45C54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FA443AAE-0D97-2CB2-C726-CB82208B12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6426" y="2597226"/>
            <a:ext cx="8011148" cy="1559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79412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50BBD3D-51EF-A4C6-5359-B9D52E21D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F90E153D-1FB6-98BE-EC5F-BA4B7C68E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BA061139-7C52-7C9D-B9D6-CCEC9499ED0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8136EB3C-D9B3-E480-DD5D-225E7F2C51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6DBFED9C-18DF-23E8-6088-10F883CCB7A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4EDAD220-7244-63B4-7EFC-67FA3901546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E42CF96-FBE5-8254-6179-7F68C9DC617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7050C2D-6745-6B89-0DEE-445B4F2DADB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EFE7251-180B-27E2-F6A4-FD4E0095D85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37004A4-2C01-8538-B81D-A12949948A4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xmlns="" id="{AB010F55-EC24-40D7-57BA-4D1F94E48D5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11D18B63-9244-6CF1-F3CE-43E73F4530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6426" y="2597226"/>
            <a:ext cx="8011148" cy="1559786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A175E230-12C4-AD1F-F66F-F55FDF098244}"/>
              </a:ext>
            </a:extLst>
          </p:cNvPr>
          <p:cNvSpPr txBox="1"/>
          <p:nvPr/>
        </p:nvSpPr>
        <p:spPr>
          <a:xfrm>
            <a:off x="566426" y="3377119"/>
            <a:ext cx="8258487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كانَ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إِنسان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أَوَّل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يَصْنَعُ حِذاءَهُ مِنْ أَوْراقِ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أَشْجار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نّاعِمَة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2272082"/>
      </p:ext>
    </p:extLst>
  </p:cSld>
  <p:clrMapOvr>
    <a:masterClrMapping/>
  </p:clrMapOvr>
  <p:transition spd="slow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94991AB-A65D-3552-D03C-AA2408232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877AEBD3-EC3A-DE95-CFEA-E330DBB9F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ثاني؟ هل أنتم متفقون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6A0582E5-FF4C-8091-2400-83B38560272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CC947BB2-BB0A-1AA7-5C01-DA841D13B8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C3F75E1D-F98A-9C7F-7AA9-C43C32C3105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8A7FC48E-5A03-5A19-BCCC-D4E651ED981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5F174A6-2346-6ED8-75A6-5F3DD51CD2F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C54BC1C-2403-0893-B20E-E3F237C5829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1F7D730-7311-068B-C943-AA1BCCA3AB0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AC0A664-8999-28FB-653B-B54FA07D996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CB3B1FA3-6BFE-9322-C1A3-B542B62F6A0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BF46236B-40FA-9C73-2F37-1EA82D64A7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200" y="2732341"/>
            <a:ext cx="8307341" cy="161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660947"/>
      </p:ext>
    </p:extLst>
  </p:cSld>
  <p:clrMapOvr>
    <a:masterClrMapping/>
  </p:clrMapOvr>
  <p:transition spd="slow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5A33A6D-503C-A134-1416-57A8BEAF27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4BE754BB-D57D-7347-ECDA-F6794B1D8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C7405033-FA4C-D975-B6CF-26797E1DB7A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F5A2F7CE-3303-1F0D-D5BB-33378DBA5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2E5EDAC2-471E-26AD-0F9D-24ADAD5FAB0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C99EAEDD-B8BB-86C1-7360-2676EF4CEB2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2A171C2-75D2-EC5E-D668-4903FA42945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4F25B67-9D93-CE38-7895-14D806976C7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67B826C-0D86-22F4-CE1B-621FE807964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EF62CEF-40EB-BF6E-1561-7F32BEECD41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A0E719BE-2A5B-B585-FD14-C591DEEA2F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B4EDE7FE-091F-C8BF-122D-FAE56A8BEF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200" y="2732341"/>
            <a:ext cx="8307341" cy="161106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7616EA30-A34E-1E9E-F068-B090625ABC7B}"/>
              </a:ext>
            </a:extLst>
          </p:cNvPr>
          <p:cNvSpPr txBox="1"/>
          <p:nvPr/>
        </p:nvSpPr>
        <p:spPr>
          <a:xfrm>
            <a:off x="566426" y="3598029"/>
            <a:ext cx="8258487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َتَمَيَّزُ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أَحْذِيَة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رِّياضِيَّة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بِكَوْنِها مُريحَةً، وَتُسَاعِدُ عَلى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تَّنَقُّل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،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ﭐلجَرْي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،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ﭐلمَشْي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بِسُرْعَةٍ وَخِفَّةٍ.</a:t>
            </a:r>
          </a:p>
        </p:txBody>
      </p:sp>
    </p:spTree>
    <p:extLst>
      <p:ext uri="{BB962C8B-B14F-4D97-AF65-F5344CB8AC3E}">
        <p14:creationId xmlns:p14="http://schemas.microsoft.com/office/powerpoint/2010/main" val="1864942298"/>
      </p:ext>
    </p:extLst>
  </p:cSld>
  <p:clrMapOvr>
    <a:masterClrMapping/>
  </p:clrMapOvr>
  <p:transition spd="slow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DA7AD5C-1A7A-00ED-191A-2045FBAB7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04BF6CD9-8920-19C5-82C5-D46D27170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ثالث؟ هل أنتم متفقون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49560F52-C5FF-352C-14CD-E145C2B0646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A306D87-8180-270A-5D8E-81A60AE164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43E79995-23EB-76A9-9B8A-2DD0654789D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24517B52-B0AB-2B2E-7A16-7F9D68AADA7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93CD8E4-A5FE-4F3D-9D1B-7050ED94DC6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88140B9-3AA3-13D8-A31E-5E94440D363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8EF6AE-84C6-3B96-A553-4B5E7220376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1C1B14C-1BE8-E5AB-FA51-E902F655E43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89F9CF0D-EDCE-C9B5-0FE5-392136C46E7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5F9C5A0A-82DD-F40B-8E90-BD9CF28DA9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2084" y="2556710"/>
            <a:ext cx="8199831" cy="174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619408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CA8519B-FE7D-F293-C913-B75C9867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FF248E56-1474-C46B-2B45-6ACB778D0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D7C06CA0-783F-A33A-B680-AE3064FC01B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E0D70CED-A957-DD59-3A2A-39BE1A842D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C334EC9E-4A35-1413-981C-6BE195D396B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468B48EC-4BF1-CFD2-32A6-371AEDA3148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75CFDB-68CA-C964-BD5D-F72F22256C9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56461D5-F52F-1786-3A7B-74487E07639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CF74E31-A90E-677E-FE27-C423A0CE60A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91B4FA2-0CFF-D195-5A06-F6A117034AE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DDCF5420-48D5-C7A7-22A2-AB991FE086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AE8BB004-5883-D7FB-023F-7AAF15DFAC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2084" y="2556710"/>
            <a:ext cx="8199831" cy="174457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17FBB3CA-3E3A-EC8B-B9E9-448C8B4AA30B}"/>
              </a:ext>
            </a:extLst>
          </p:cNvPr>
          <p:cNvSpPr txBox="1"/>
          <p:nvPr/>
        </p:nvSpPr>
        <p:spPr>
          <a:xfrm>
            <a:off x="566426" y="3598029"/>
            <a:ext cx="8258487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ِقْتَرَحَ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مُساعِد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ٱسْتِعْمالَ قِطْعَةِ جِلْدٍ صَغيرَةٍ تَحْتَ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أقْدام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لِأَنَّ فَرْشَ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شَّوارِع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بِٱلْجِلْد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أَمْرٌ صَعْبٌ وَمُكَلِّفٌ جِدّاً.</a:t>
            </a:r>
          </a:p>
        </p:txBody>
      </p:sp>
    </p:spTree>
    <p:extLst>
      <p:ext uri="{BB962C8B-B14F-4D97-AF65-F5344CB8AC3E}">
        <p14:creationId xmlns:p14="http://schemas.microsoft.com/office/powerpoint/2010/main" val="3341760422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D673057-B35F-CDB2-0679-18F415F47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83A850F1-364D-E513-32FA-5F48532E6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ألواحكم أجيبوا عن الأسئلة التالية من خلال النص. سأسجل نسبة التحكم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FE618EAF-3727-EB91-D2F6-287D584A1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13E8C8B-6019-FC78-CC9C-BCF43D527D8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37BE2049-E8C2-1533-45EC-4DB6308B809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D9A810A2-4F40-35E3-CFDF-FB645DE3630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B2F2601-C84A-75C5-8AC4-72D34D7597E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CA7B781-6716-121B-E011-7DACB079E84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31759E2-D8EB-9330-A9B4-59B93CDCA50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B88A2C1-198C-7A2B-66E3-4FD93A931CF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7" name="Espace réservé pour une image  12">
            <a:extLst>
              <a:ext uri="{FF2B5EF4-FFF2-40B4-BE49-F238E27FC236}">
                <a16:creationId xmlns:a16="http://schemas.microsoft.com/office/drawing/2014/main" xmlns="" id="{FAE2E58C-7D5B-C34D-6F9F-3B7EBFA919D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D6EFE8F2-D831-3417-18EA-30F1E7866A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73702" y="1368000"/>
            <a:ext cx="6645216" cy="523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74870"/>
      </p:ext>
    </p:extLst>
  </p:cSld>
  <p:clrMapOvr>
    <a:masterClrMapping/>
  </p:clrMapOvr>
  <p:transition spd="slow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1CFD416-40AA-3EE8-511B-098D9C6545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C4414F31-3BEA-6A5A-09C0-1CB2B4BA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رابع؟ هل أنتم متفقون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F9FBCBB-BF57-E36E-3A8D-8064C26DFDF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290B3E3F-97B6-9F57-5FBC-3E53BA3036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F39E1A17-2361-A1B5-6EE4-80C18EF9A9A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804EBFC8-BB59-B020-5F00-DF23FC3D3B6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2BF2E55-FDC5-34FA-3EB7-46EFDB664C3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27CE18D-922C-6633-D969-54519ED15E9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6943FD5-C0EB-572C-A78B-BDBFEF026E9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6B73599-8EF0-9A56-2CBD-6C0CEF33E0F8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2D48E24C-743E-91D4-764D-0B80E4DB4D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C4C737D6-13C0-0664-50B6-5BC820B3FC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3557" y="2499627"/>
            <a:ext cx="8196885" cy="2856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08114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624B103-A72A-07B9-BCBC-CE80135A3F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20E44493-F2CC-44C4-F332-550C07172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E0CF931-40EA-291C-F5B0-C6EC34D297C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C783BED9-D9B1-3385-9257-C28D12BFFA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88773F05-53C6-DD56-0B30-2B97E5EE541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6CF80D0F-3213-C21A-99EE-7E7AF87D396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C0D3DB5-BDBE-52AD-A685-A478536084F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FEF2981-B613-B949-06DF-AEEB415A395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94DCD06-77E3-305A-B57D-28D96FF5673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BD3AE35-A6C1-47AF-D093-5C52E3F4F50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9A66814B-16A7-1126-5449-4CCE349EDB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852CDEEE-0A85-C40A-628E-3CF9977745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3557" y="2499627"/>
            <a:ext cx="8196885" cy="285615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1B913FB6-1401-F946-8E65-9B23AA6188D9}"/>
              </a:ext>
            </a:extLst>
          </p:cNvPr>
          <p:cNvSpPr txBox="1"/>
          <p:nvPr/>
        </p:nvSpPr>
        <p:spPr>
          <a:xfrm>
            <a:off x="422071" y="3579499"/>
            <a:ext cx="37620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حِمَايَةُ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قَدَمَيْن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مِنَ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حَرَارَة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.  </a:t>
            </a:r>
            <a:endParaRPr lang="fr-FR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DE852637-A475-85BC-094B-9DE816023D21}"/>
              </a:ext>
            </a:extLst>
          </p:cNvPr>
          <p:cNvSpPr txBox="1"/>
          <p:nvPr/>
        </p:nvSpPr>
        <p:spPr>
          <a:xfrm>
            <a:off x="4571999" y="4479890"/>
            <a:ext cx="37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اَلتَّنَقُّلِ بِسُرْعَةٍ وَخِفَّةٍ.</a:t>
            </a:r>
            <a:endParaRPr lang="fr-FR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35759400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5E500A3-CEE0-134E-0491-D4C51A5BA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D0709994-8A29-0613-2A73-A64F3AAD7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،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نجزوا الأنشطة التالية: معكم 10 دقائق للإنجاز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BC230F2F-4298-784D-7974-0B64C08122C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FDF4707-6910-37ED-A89E-0E03F35155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BDEA8793-8E27-C3F7-3C23-67C40E3D2C8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DF17E2D6-9CEF-1F38-B6E4-9C20A249F46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15E8F66-0429-76A6-73CC-527B63B9467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31E21F-0085-6FDC-8C97-734BECEA825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BB6830E-D37F-7F79-9086-791D65DEDE8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02BDC4B-9A53-E07D-14C2-B18AEF41515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D7BB4599-B51B-4EA4-467A-35892BD2895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419A8DB1-BA05-CB39-2266-2AD1E78AB6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7358" y="2107981"/>
            <a:ext cx="8277473" cy="414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93520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EE02EAD-E658-17E2-8D9D-8A1F00CDA6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C9F7C44D-65F2-7A71-4A76-A4D808FA0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م الصفوف لمساعدتكم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4D0719D-1E43-CB5F-2BC6-76FBB779B03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ECAEAE98-0BD7-5A30-3892-18F5299AD9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EE7C4B92-6FEA-D33A-63DA-B035E7A4857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62EAEE64-C23E-E4B4-5765-D4FA0D4AE9E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0C6A7119-E6F4-D7E9-705E-D811A833DE0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AB81416-13E9-635C-1329-5BF6EE7FA97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6B642F4-BD10-7C3B-EDE8-B7933D9BF06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5D704D8-1E84-9756-13F3-DEFEAA720FE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EC8D79C2-242B-7427-B69F-9506461E665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C1F54F09-496D-6E87-4DF2-68A55E8CB5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7358" y="2107981"/>
            <a:ext cx="8277473" cy="414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22454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1E4B4FE-3949-A608-F463-3725E2C8C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D4D16419-EBDD-2C1D-A897-217EF409C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275" y="684212"/>
            <a:ext cx="6840000" cy="687387"/>
          </a:xfrm>
        </p:spPr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أسئلة. من يجيب؟ من يقترح جوابا آخر؟</a:t>
            </a:r>
            <a:b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شاط تفاعلي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9F4EAAF6-70A2-D37F-BC84-5B44FA88E6B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11D1AB3B-A60D-8FAE-35D0-5E0931A6BD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60D6CB43-426D-A785-1342-5F0AA0326E3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2561B4F8-4A58-6CCD-C265-31A8249F72F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66CF586-9C75-C104-961B-1138E54E107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F09A456-95DC-4DC0-8F40-6F48EB78398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1AFE029-219B-686A-1CF4-0494D74E55F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418B023-99D2-B868-5DE3-8559353C993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2C5F9F5F-3EAA-2D0C-1CC3-BA698086A15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845B70DC-081C-28AE-1E64-635D185C5E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7358" y="2107981"/>
            <a:ext cx="8277473" cy="414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04532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CD3BB66-2D8E-2BC3-52C3-A750B5DEE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xmlns="" id="{FBEED42A-7AFD-97FC-3741-5E57EFA17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يكم هذا النموذج؟ صححوا. هناك إجابات أخرى ممكن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F57D40FC-2182-86EB-DBAB-C6597CBC63C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B0642CB6-CD84-355B-8BF0-F6F24144DD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2BEE1E6D-CED6-F559-CD36-593400A50F6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55A292C-0425-8B33-03ED-19D02F5AB67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E22914B-7535-DABD-64C3-BDDFA9DE6F2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DDBD672-F153-ACB4-662D-146681E9E78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354591C7-8D70-DC4B-7F43-A1C4D8B6DC8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5B14343-B628-9864-A068-48F7E5A36A6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xmlns="" id="{0C8F226E-7221-3438-FF20-02291F2CBA3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96CC06BC-484F-64D3-0326-46BF145CB0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7358" y="2107981"/>
            <a:ext cx="8277473" cy="414365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915A60B9-B975-88B7-6520-DD55FA7F9B3A}"/>
              </a:ext>
            </a:extLst>
          </p:cNvPr>
          <p:cNvSpPr txBox="1"/>
          <p:nvPr/>
        </p:nvSpPr>
        <p:spPr>
          <a:xfrm>
            <a:off x="1494331" y="4086207"/>
            <a:ext cx="69558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لَكِنَّ قَدَمَيْهِ كانَتا تَتَوَرَّمانِ بَعْدَ كُلِّ جَوْلَةٍ.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15D2B8F1-B351-D151-E54A-46BB1BB0ECA7}"/>
              </a:ext>
            </a:extLst>
          </p:cNvPr>
          <p:cNvSpPr txBox="1"/>
          <p:nvPr/>
        </p:nvSpPr>
        <p:spPr>
          <a:xfrm>
            <a:off x="1670748" y="2702265"/>
            <a:ext cx="69558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صارَتِ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أَحْذِيَةُ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  مُريحَةً.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9EC7D696-4980-3214-751E-25AFFF3A026F}"/>
              </a:ext>
            </a:extLst>
          </p:cNvPr>
          <p:cNvSpPr txBox="1"/>
          <p:nvPr/>
        </p:nvSpPr>
        <p:spPr>
          <a:xfrm>
            <a:off x="349168" y="5333954"/>
            <a:ext cx="82774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ِخْتِراعُ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أَحْذِيَة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وَتَطْويرُها ساهَما في تَوفيرِ ٱلرّاحَةِ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ٱلْحِمايَةِ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لِلْإِنْسانِ.</a:t>
            </a:r>
          </a:p>
        </p:txBody>
      </p:sp>
    </p:spTree>
    <p:extLst>
      <p:ext uri="{BB962C8B-B14F-4D97-AF65-F5344CB8AC3E}">
        <p14:creationId xmlns:p14="http://schemas.microsoft.com/office/powerpoint/2010/main" val="1884433344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xmlns="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xmlns="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xmlns="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ورشة القراءة – القراءة الاثرائية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xmlns="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267712" y="3158999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الجار الخائن – إعادة تركيب عناصر القصة.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lang="ar-MA" sz="32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– الحصة 4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18A26902-CB9B-E0A7-9630-544065E8B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8925" y="956399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1A1BBF32-367E-CB6A-CB4F-39B04D9930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79" y="1532399"/>
            <a:ext cx="682398" cy="785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55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1B7ACAF-A68C-4C03-DF04-C9211C511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54319FB4-DF06-0E23-9F31-47A24DE65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واصل قراءة قصة "الجار الخائن". من منكم يذكرنا بشخصيات القصة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C41FC96C-5225-A586-CE19-E8C100F9059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B6218F91-16A4-8551-EB87-3B790C635AB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D58342D9-EE81-F25D-5841-F338DA7FEB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941E5396-2AA7-46B9-500D-4B739C7046A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63E2E30-72A2-E844-7BC6-D1457F1F02B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F60C99C2-D9E2-0727-80AA-5200934B9F2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EBA1C81-A5BD-46F4-2E74-7C2BE3751F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9F6926D-BFDE-B878-97D5-43274511096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757DB0B5-40DA-5904-2710-BEAC17574FF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24367058-A811-2666-6CD6-3756ABCBF8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6593" y="1368000"/>
            <a:ext cx="4366638" cy="493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86589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3D8A6E2-156D-1F49-9684-9E6439E87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7B0FB86D-7918-DA3C-D4FF-BD76BB6A6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كم يحاول تذكر أحداث الحكاية اعتمادا على الصور و بطاقة القراءة 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1E366077-124D-66AA-7263-10FEFB82EF3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38C994F7-DEEE-4778-3832-59C5C54D837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71546607-7483-2950-F055-BD18435281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EA106920-CB84-0141-E58D-810F636D9FD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C740E3B-03D7-8BC5-7A93-8084330B34F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CCC94AB-3047-0580-FACC-C7347306CA3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674FDA0-FDDA-8F60-17CE-CBC2120186E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D3EBB66-402F-1DEB-6345-D3AE37FD426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5B533C7A-62D0-650F-BEAA-DFE31F36050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7A5DBC10-229B-E90D-ED3B-C7D35CECF32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401" r="11838" b="4019"/>
          <a:stretch/>
        </p:blipFill>
        <p:spPr>
          <a:xfrm>
            <a:off x="5791192" y="2010133"/>
            <a:ext cx="2810619" cy="185478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1A891CB7-48DC-9A75-7E9F-F0892CCBF7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7517" y="1806503"/>
            <a:ext cx="2621368" cy="221907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A0FDAC64-17F2-5129-BD41-2E07C9D3E4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670" y="1729009"/>
            <a:ext cx="1894652" cy="221907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B543A3D1-3DB4-4FF9-2D13-00F7DBB90D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12850" y="4547050"/>
            <a:ext cx="2561457" cy="20111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8514DA71-D601-A6FD-E064-FA77B508BF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48034" y="4371421"/>
            <a:ext cx="2095682" cy="2362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71634"/>
      </p:ext>
    </p:extLst>
  </p:cSld>
  <p:clrMapOvr>
    <a:masterClrMapping/>
  </p:clrMapOvr>
  <p:transition spd="slow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43A9E2E-2BE7-CD34-5584-477EB799B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A5358487-23F7-BD20-977A-117E75753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ا هي توقعاتكم لنهاية القصة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B48F2B09-1310-C1C4-DA9F-AFFEE396175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631E44D0-219A-945E-2120-37E5DDE9219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4B7B0FA-1A33-6885-70EF-7D77B2CE3C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845BE046-A73D-7156-9723-8756D7D5730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9EE7CA6-EADB-E52B-5B0E-DF9CD028283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521009-F2BD-9CCD-1598-D76CDF8ADE2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663183D-C1D6-F3B6-565B-96FD36EC330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27EFBB0-0E8B-2292-832A-397CB07F55B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D320F413-6D2A-B815-65EE-0B52942D6D4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7ACF66B4-9105-9D23-56CA-B705547979C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401" r="11838" b="4019"/>
          <a:stretch/>
        </p:blipFill>
        <p:spPr>
          <a:xfrm>
            <a:off x="5791192" y="2010133"/>
            <a:ext cx="2810619" cy="185478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D4B6B2AF-B5D9-D9A7-426B-756765FDAA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7517" y="1806503"/>
            <a:ext cx="2621368" cy="221907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3F186F5D-E436-6F0C-0570-09D10A8381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670" y="1729009"/>
            <a:ext cx="1894652" cy="221907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E4EEB6B3-47CA-AD4F-3EF9-63C30945E23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12850" y="4547050"/>
            <a:ext cx="2561457" cy="20111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2EAA369C-A023-1B21-B0E1-83CA17BDB9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48034" y="4371421"/>
            <a:ext cx="2095682" cy="2362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285308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A05021E-D218-B50F-7257-B89B104B6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4FAFDB7D-9F81-5B68-816B-DCE94FC51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أول: ابحثوا  عن السبب أو النتيجة .  معكم دقيقتين للإجابة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0D466DD3-BB7C-9F34-6775-B61C6BD63A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93A09C34-4583-6E6F-86DE-8B30107742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EE4DAB8B-BF26-05B1-3C8E-923D47CC4D9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11F96E0E-5B66-7585-CE19-95DC87F0C1D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15099B9-FC4E-980F-ACB4-79F6D2EBE03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3196376-4484-1D28-EE12-C1565E4C8FF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6D58150-125D-13B1-A66B-AD93F82466C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DFCE8F9-8B5F-C747-A4DC-FD1690E9E54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xmlns="" id="{DDF5F1D0-D8E9-D1E9-E75E-BE88CCB3997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xmlns="" id="{75E87CC7-B6BD-1B16-093C-EB73959B59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731947"/>
              </p:ext>
            </p:extLst>
          </p:nvPr>
        </p:nvGraphicFramePr>
        <p:xfrm>
          <a:off x="743157" y="2606039"/>
          <a:ext cx="7657686" cy="3322320"/>
        </p:xfrm>
        <a:graphic>
          <a:graphicData uri="http://schemas.openxmlformats.org/drawingml/2006/table">
            <a:tbl>
              <a:tblPr firstRow="1" bandRow="1"/>
              <a:tblGrid>
                <a:gridCol w="3828843">
                  <a:extLst>
                    <a:ext uri="{9D8B030D-6E8A-4147-A177-3AD203B41FA5}">
                      <a16:colId xmlns:a16="http://schemas.microsoft.com/office/drawing/2014/main" xmlns="" val="3080952375"/>
                    </a:ext>
                  </a:extLst>
                </a:gridCol>
                <a:gridCol w="3828843">
                  <a:extLst>
                    <a:ext uri="{9D8B030D-6E8A-4147-A177-3AD203B41FA5}">
                      <a16:colId xmlns:a16="http://schemas.microsoft.com/office/drawing/2014/main" xmlns="" val="2171746708"/>
                    </a:ext>
                  </a:extLst>
                </a:gridCol>
              </a:tblGrid>
              <a:tr h="565369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/>
                      <a:r>
                        <a:rPr lang="ar-MA" sz="4000" b="1" kern="1200" noProof="0" dirty="0">
                          <a:solidFill>
                            <a:srgbClr val="C0000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اَلنَّتيجَةُ</a:t>
                      </a:r>
                      <a:endParaRPr lang="fr-MA" sz="4000" b="1" kern="1200" dirty="0">
                        <a:solidFill>
                          <a:srgbClr val="C00000"/>
                        </a:solidFill>
                        <a:latin typeface="Microsoft Uighur" panose="02000000000000000000" pitchFamily="2" charset="-78"/>
                        <a:ea typeface="MingLiU_MSCS" panose="020B0604030504040204" pitchFamily="18" charset="-120"/>
                        <a:cs typeface="Microsoft Uighur" panose="02000000000000000000" pitchFamily="2" charset="-78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/>
                      <a:r>
                        <a:rPr lang="ar-MA" sz="4000" b="1" kern="1200" noProof="0" dirty="0">
                          <a:solidFill>
                            <a:srgbClr val="C0000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اَلسَّبَبُ</a:t>
                      </a:r>
                      <a:endParaRPr lang="fr-MA" sz="4000" b="1" kern="1200" dirty="0">
                        <a:solidFill>
                          <a:srgbClr val="C00000"/>
                        </a:solidFill>
                        <a:latin typeface="Microsoft Uighur" panose="02000000000000000000" pitchFamily="2" charset="-78"/>
                        <a:ea typeface="MingLiU_MSCS" panose="020B0604030504040204" pitchFamily="18" charset="-120"/>
                        <a:cs typeface="Microsoft Uighur" panose="02000000000000000000" pitchFamily="2" charset="-78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8360543"/>
                  </a:ext>
                </a:extLst>
              </a:tr>
              <a:tr h="655320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/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أَمَرَ ﭐلْحاكِمُ بِفَرْشِ  </a:t>
                      </a:r>
                      <a:r>
                        <a:rPr lang="ar-MA" sz="4000" b="1" kern="1200" dirty="0" err="1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ﭐلشَّوارِعِ</a:t>
                      </a:r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 كُلِّها </a:t>
                      </a:r>
                      <a:r>
                        <a:rPr lang="ar-MA" sz="4000" b="1" kern="1200" dirty="0" err="1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بِـﭑلْجِلْدِ</a:t>
                      </a:r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  <a:sym typeface="Arial"/>
                        </a:rPr>
                        <a:t>.</a:t>
                      </a:r>
                      <a:endParaRPr lang="fr-MA" sz="4000" b="1" kern="1200" dirty="0">
                        <a:solidFill>
                          <a:srgbClr val="002060"/>
                        </a:solidFill>
                        <a:latin typeface="Microsoft Uighur" panose="02000000000000000000" pitchFamily="2" charset="-78"/>
                        <a:ea typeface="MingLiU_MSCS" panose="020B0604030504040204" pitchFamily="18" charset="-120"/>
                        <a:cs typeface="Microsoft Uighur" panose="02000000000000000000" pitchFamily="2" charset="-78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................................</a:t>
                      </a:r>
                    </a:p>
                    <a:p>
                      <a:pPr algn="ctr"/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................................</a:t>
                      </a:r>
                      <a:endParaRPr lang="fr-MA" sz="4000" b="1" kern="1200" dirty="0">
                        <a:solidFill>
                          <a:srgbClr val="002060"/>
                        </a:solidFill>
                        <a:latin typeface="Microsoft Uighur" panose="02000000000000000000" pitchFamily="2" charset="-78"/>
                        <a:ea typeface="MingLiU_MSCS" panose="020B0604030504040204" pitchFamily="18" charset="-120"/>
                        <a:cs typeface="Microsoft Uighur" panose="02000000000000000000" pitchFamily="2" charset="-78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78322647"/>
                  </a:ext>
                </a:extLst>
              </a:tr>
              <a:tr h="655320">
                <a:tc>
                  <a:txBody>
                    <a:bodyPr/>
                    <a:lstStyle/>
                    <a:p>
                      <a:pPr algn="ctr" rtl="1"/>
                      <a:r>
                        <a:rPr lang="f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..................................</a:t>
                      </a:r>
                    </a:p>
                    <a:p>
                      <a:pPr algn="ctr" rtl="1"/>
                      <a:r>
                        <a:rPr lang="f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...................................</a:t>
                      </a:r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حِمايَةُ </a:t>
                      </a:r>
                      <a:r>
                        <a:rPr lang="ar-MA" sz="4000" b="1" kern="1200" dirty="0" err="1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ﭐلْقَدَمَيْنِ</a:t>
                      </a:r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 مِنَ </a:t>
                      </a:r>
                      <a:r>
                        <a:rPr lang="ar-MA" sz="4000" b="1" kern="1200" dirty="0" err="1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ﭐلْحَرارَةِ</a:t>
                      </a:r>
                      <a:r>
                        <a:rPr lang="ar-MA" sz="4000" b="1" kern="1200" dirty="0">
                          <a:solidFill>
                            <a:srgbClr val="002060"/>
                          </a:solidFill>
                          <a:latin typeface="Microsoft Uighur" panose="02000000000000000000" pitchFamily="2" charset="-78"/>
                          <a:ea typeface="MingLiU_MSCS" panose="020B0604030504040204" pitchFamily="18" charset="-120"/>
                          <a:cs typeface="Microsoft Uighur" panose="02000000000000000000" pitchFamily="2" charset="-78"/>
                        </a:rPr>
                        <a:t>. </a:t>
                      </a:r>
                      <a:endParaRPr lang="fr-MA" sz="4000" b="1" kern="1200" dirty="0">
                        <a:solidFill>
                          <a:srgbClr val="002060"/>
                        </a:solidFill>
                        <a:latin typeface="Microsoft Uighur" panose="02000000000000000000" pitchFamily="2" charset="-78"/>
                        <a:ea typeface="MingLiU_MSCS" panose="020B0604030504040204" pitchFamily="18" charset="-120"/>
                        <a:cs typeface="Microsoft Uighur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88773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100560"/>
      </p:ext>
    </p:extLst>
  </p:cSld>
  <p:clrMapOvr>
    <a:masterClrMapping/>
  </p:clrMapOvr>
  <p:transition spd="slow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9B9A813-88F6-3B79-1FB4-A40CB41A3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4C6C364A-F725-C7E2-5DF6-470587BA6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قرأ الجزء الأخير  من القصة. اقرؤوا قراءة صامت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C37A79CD-F6B7-4641-151C-B291CF93C54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91ED3AA9-F153-FAF5-43A9-8BFD53E53E8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9E36892-A7CD-D27A-7BD7-DE4FCFECD2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71AE8670-B025-028E-6759-F966E7B8D5A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198FC9D-6D4D-8F1B-8509-10B26DDAA79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E792B5-13DD-116F-78E8-6C4BB88A816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678E7A0-09B7-6DEF-DEB8-12C263248D4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BF0ECFD-55B8-01F5-2581-9FB992ACD6B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6103847D-234B-89EA-4027-4010026EBCD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2558B165-D586-CA79-9EE1-4736D6E7B1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1245" y="2552772"/>
            <a:ext cx="8081510" cy="2885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547716"/>
      </p:ext>
    </p:extLst>
  </p:cSld>
  <p:clrMapOvr>
    <a:masterClrMapping/>
  </p:clrMapOvr>
  <p:transition spd="slow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1A3CFC8-7956-D0FE-8E83-7F01ED52A7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F2D86675-29A0-2B5E-D52C-B5ECB2B8E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قرأ الجزء الأخير  من القصة. اقرؤوا قراءة صامت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CA2BB4CB-498E-382F-A2FD-E792B01BDFA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D718BE6-6B3E-5BBD-73C3-4E294A2B9CD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2BB11ABD-5760-83EA-7A9D-0D66E2B7EA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D27829CA-D9C4-9BA8-0D01-1D61F0287AE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E1C89E3-1A6A-1B06-EE66-5998EDE1749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BE0D796-44FB-F871-7834-EEF78F90EEF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1A9E77F-EA40-9E24-E929-B9CC043DAEA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3D98596-3611-A8AF-99F6-0ECA61AB32E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7C223EC8-5739-99C8-B6E4-C1E907B78AC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8AB56753-3831-CDC4-35DE-ED71586D23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6587" y="1853731"/>
            <a:ext cx="7803330" cy="48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120597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2CD9CAF-2D14-18F4-BED7-6E0F0F869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01D8A366-E1CC-967D-59C1-2FFEDC0CF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جيب جماعة عن الأسئلة التالية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29CD26A5-80C2-E6AB-8CE2-76CF81A2C0E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CFCA2352-18A7-86EB-9FE7-1ABD9004130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9F6A3D03-0947-BF1C-0586-930FAFD915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775C3DB6-52FA-F223-4F0E-6C317BD1D36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116CE7E-6D74-F1B4-E235-758BF030B60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BC0680B-6C8C-1D72-9E6E-FBA1B895766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F0330B5F-C459-CDC8-2F70-65A5CDE2E4B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152C02E-1C90-8DEC-00FE-7E45564F3ED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xmlns="" id="{2AFE524B-3ECD-D25A-9D7B-089928CB7A4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1006;p33">
            <a:extLst>
              <a:ext uri="{FF2B5EF4-FFF2-40B4-BE49-F238E27FC236}">
                <a16:creationId xmlns:a16="http://schemas.microsoft.com/office/drawing/2014/main" xmlns="" id="{00F2C685-02D7-3BE8-D2F8-A90E19EDB866}"/>
              </a:ext>
            </a:extLst>
          </p:cNvPr>
          <p:cNvSpPr/>
          <p:nvPr/>
        </p:nvSpPr>
        <p:spPr>
          <a:xfrm>
            <a:off x="932489" y="3114568"/>
            <a:ext cx="7279022" cy="2755231"/>
          </a:xfrm>
          <a:prstGeom prst="roundRect">
            <a:avLst>
              <a:gd name="adj" fmla="val 16667"/>
            </a:avLst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just" defTabSz="914377" rtl="1">
              <a:lnSpc>
                <a:spcPct val="150000"/>
              </a:lnSpc>
              <a:buClr>
                <a:srgbClr val="000000"/>
              </a:buClr>
              <a:buSzPts val="2000"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1. ماذا فَعَلَ </a:t>
            </a:r>
            <a:r>
              <a:rPr lang="ar-MA" sz="4800" b="1" kern="0" dirty="0" err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ﭐلْقِرْدانِ</a:t>
            </a: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 عِنْدَما رَأَيا </a:t>
            </a:r>
            <a:r>
              <a:rPr lang="ar-MA" sz="4800" b="1" kern="0" dirty="0" err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ﭐلْجارَ</a:t>
            </a: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؟</a:t>
            </a:r>
          </a:p>
          <a:p>
            <a:pPr algn="just" defTabSz="914377" rtl="1">
              <a:lnSpc>
                <a:spcPct val="150000"/>
              </a:lnSpc>
              <a:buClr>
                <a:srgbClr val="000000"/>
              </a:buClr>
              <a:buSzPts val="2000"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2. ماذا فَعَلَ ﭐلجارُ عِنْدَما عَلِمَ بِحالِ </a:t>
            </a:r>
            <a:r>
              <a:rPr lang="ar-MA" sz="4800" b="1" kern="0" dirty="0" err="1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ﭐبْنَيْهِ</a:t>
            </a: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؟</a:t>
            </a:r>
          </a:p>
          <a:p>
            <a:pPr algn="just" defTabSz="914377" rtl="1">
              <a:lnSpc>
                <a:spcPct val="150000"/>
              </a:lnSpc>
              <a:buClr>
                <a:srgbClr val="000000"/>
              </a:buClr>
              <a:buSzPts val="2000"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3. ماذا فَعَلَ كَيْ يَسْتَعيدَ وَلَدَيْهِ؟</a:t>
            </a:r>
          </a:p>
          <a:p>
            <a:pPr algn="just" defTabSz="914377" rtl="1">
              <a:lnSpc>
                <a:spcPct val="150000"/>
              </a:lnSpc>
              <a:buClr>
                <a:srgbClr val="000000"/>
              </a:buClr>
              <a:buSzPts val="2000"/>
              <a:defRPr/>
            </a:pP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4. ما رَأْيُكُمْ في تَصَرُّفِ </a:t>
            </a:r>
            <a:r>
              <a:rPr lang="ar-MA" sz="4800" b="1" kern="0" dirty="0" err="1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ﭐلْجارِ</a:t>
            </a:r>
            <a:r>
              <a:rPr lang="ar-MA" sz="4800" b="1" kern="0" dirty="0">
                <a:solidFill>
                  <a:srgbClr val="424D7C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 ؟</a:t>
            </a:r>
          </a:p>
          <a:p>
            <a:pPr algn="just" defTabSz="914377" rtl="1">
              <a:lnSpc>
                <a:spcPct val="150000"/>
              </a:lnSpc>
              <a:buClr>
                <a:srgbClr val="000000"/>
              </a:buClr>
              <a:buSzPts val="2000"/>
              <a:defRPr/>
            </a:pPr>
            <a:endParaRPr lang="ar-MA" sz="4800" b="1" kern="0" dirty="0">
              <a:solidFill>
                <a:srgbClr val="424D7C"/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0205472"/>
      </p:ext>
    </p:extLst>
  </p:cSld>
  <p:clrMapOvr>
    <a:masterClrMapping/>
  </p:clrMapOvr>
  <p:transition spd="slow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ADF8AA1-D4A9-1AB7-98E6-02C6E25A4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DEEA676C-DA63-E01A-92AC-55EAF0AF8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دونوا هذ</a:t>
            </a:r>
            <a:r>
              <a:rPr lang="ar-MA" sz="20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ه الخريطة الذهنية على دفاتر البحث. أنجزوا المطلوب في منازلكم.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A998322-5EF6-75CB-EB2A-85009560663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767B6FA6-D32F-A921-649F-3EBC8EF3AFE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FDC25E35-8BE7-2131-E7AF-F925DE66D5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D9B78E6E-A332-D3A1-C462-4DDDF2FD7F1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E4F5B78-4B14-ADA7-E4D6-0BA9E5ABCB9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DB6B9E8-BAA9-9887-FAE3-3BB4CF0B49C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90C0BBF-BCCF-60FE-A52A-A0F746C2A1F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25EEDB2-7D11-8293-C75B-A2680E449AB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7">
            <a:extLst>
              <a:ext uri="{FF2B5EF4-FFF2-40B4-BE49-F238E27FC236}">
                <a16:creationId xmlns:a16="http://schemas.microsoft.com/office/drawing/2014/main" xmlns="" id="{21A21854-851B-71F9-4ACA-5C8416F7482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aphicFrame>
        <p:nvGraphicFramePr>
          <p:cNvPr id="23" name="Diagramme 22">
            <a:extLst>
              <a:ext uri="{FF2B5EF4-FFF2-40B4-BE49-F238E27FC236}">
                <a16:creationId xmlns:a16="http://schemas.microsoft.com/office/drawing/2014/main" xmlns="" id="{0C46FDAB-A3D7-82C1-0004-4AAF73FA14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553302"/>
              </p:ext>
            </p:extLst>
          </p:nvPr>
        </p:nvGraphicFramePr>
        <p:xfrm>
          <a:off x="811160" y="1914904"/>
          <a:ext cx="7521680" cy="3284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4" name="Flèche : bas 23">
            <a:extLst>
              <a:ext uri="{FF2B5EF4-FFF2-40B4-BE49-F238E27FC236}">
                <a16:creationId xmlns:a16="http://schemas.microsoft.com/office/drawing/2014/main" xmlns="" id="{E0A215FE-21B5-FB2A-CF40-B0AB7E24DDF3}"/>
              </a:ext>
            </a:extLst>
          </p:cNvPr>
          <p:cNvSpPr/>
          <p:nvPr/>
        </p:nvSpPr>
        <p:spPr>
          <a:xfrm>
            <a:off x="4397542" y="5221949"/>
            <a:ext cx="348916" cy="307690"/>
          </a:xfrm>
          <a:prstGeom prst="down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xmlns="" id="{D44B81A6-EDEC-D7C5-089C-3A52BD84D5F6}"/>
              </a:ext>
            </a:extLst>
          </p:cNvPr>
          <p:cNvSpPr/>
          <p:nvPr/>
        </p:nvSpPr>
        <p:spPr>
          <a:xfrm>
            <a:off x="811160" y="5529639"/>
            <a:ext cx="7521680" cy="818147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َلْعِبْرَةُ ﭐلّتي </a:t>
            </a:r>
            <a:r>
              <a:rPr kumimoji="0" lang="ar-MA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سْتَفْدْتُها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: ..........................................................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476426522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84FDA06-B23A-D621-423D-643242FE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3">
            <a:extLst>
              <a:ext uri="{FF2B5EF4-FFF2-40B4-BE49-F238E27FC236}">
                <a16:creationId xmlns:a16="http://schemas.microsoft.com/office/drawing/2014/main" xmlns="" id="{B892232F-2C5A-0A9D-2250-6AC8C408FF79}"/>
              </a:ext>
            </a:extLst>
          </p:cNvPr>
          <p:cNvSpPr txBox="1">
            <a:spLocks/>
          </p:cNvSpPr>
          <p:nvPr/>
        </p:nvSpPr>
        <p:spPr>
          <a:xfrm>
            <a:off x="637196" y="1472652"/>
            <a:ext cx="7886700" cy="720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اختتام الحصة</a:t>
            </a:r>
            <a:endParaRPr kumimoji="0" lang="fr-MA" sz="44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403101C6-BF6B-2F71-435A-2D0B8F539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7804" y="1616652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10" name="Image 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xmlns="" id="{F5EEABF2-E7F5-5D49-6EB5-4C3D95BF8C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96" y="2743200"/>
            <a:ext cx="7542707" cy="2498148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348532D9-994E-68F4-EFE1-BB90C48A129A}"/>
              </a:ext>
            </a:extLst>
          </p:cNvPr>
          <p:cNvSpPr txBox="1"/>
          <p:nvPr/>
        </p:nvSpPr>
        <p:spPr>
          <a:xfrm>
            <a:off x="2578720" y="3040837"/>
            <a:ext cx="4750904" cy="604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تام الحصة</a:t>
            </a:r>
            <a:endParaRPr kumimoji="0" lang="fr-MA" sz="36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91938188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55E8E94-55AD-263E-48C3-ABC7565644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xmlns="" id="{1715AF14-1EF2-15C2-E76B-FA03D66C7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</p:spPr>
        <p:txBody>
          <a:bodyPr>
            <a:normAutofit/>
          </a:bodyPr>
          <a:lstStyle/>
          <a:p>
            <a:pPr rtl="0"/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ى اللقاء في الحصة المقبلة </a:t>
            </a:r>
            <a:endParaRPr lang="fr-FR" sz="2400" dirty="0"/>
          </a:p>
        </p:txBody>
      </p:sp>
      <p:pic>
        <p:nvPicPr>
          <p:cNvPr id="7" name="اختتام الحصة5_1">
            <a:hlinkClick r:id="" action="ppaction://media"/>
            <a:extLst>
              <a:ext uri="{FF2B5EF4-FFF2-40B4-BE49-F238E27FC236}">
                <a16:creationId xmlns:a16="http://schemas.microsoft.com/office/drawing/2014/main" xmlns="" id="{07E2D7E6-3EAF-0006-7B3B-1B980B35FB2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71663" y="2439988"/>
            <a:ext cx="5400675" cy="3038475"/>
          </a:xfrm>
          <a:prstGeom prst="rect">
            <a:avLst/>
          </a:prstGeom>
        </p:spPr>
      </p:pic>
      <p:pic>
        <p:nvPicPr>
          <p:cNvPr id="8" name="Image 7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xmlns="" id="{8EF55583-AF08-C2B5-6383-6599C8ED69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6241000"/>
            <a:ext cx="540000" cy="540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8F0BDE9-0EC3-9916-A553-24DB8DE75091}"/>
              </a:ext>
            </a:extLst>
          </p:cNvPr>
          <p:cNvSpPr>
            <a:spLocks/>
          </p:cNvSpPr>
          <p:nvPr/>
        </p:nvSpPr>
        <p:spPr>
          <a:xfrm>
            <a:off x="55276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FEF8BCE8-EA6A-9762-D3D4-0D7C0FBBE3C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33113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78230D68-39E9-FC1D-554B-FC0A0544774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768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94A90079-1A78-288F-4002-5299F3E596F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8330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6C02F445-B0FE-347A-456A-D3964F0ED6A4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59439" y="126524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B7B17518-65D9-092A-F4CA-7C3D3BED9D39}"/>
              </a:ext>
            </a:extLst>
          </p:cNvPr>
          <p:cNvSpPr>
            <a:spLocks/>
          </p:cNvSpPr>
          <p:nvPr/>
        </p:nvSpPr>
        <p:spPr>
          <a:xfrm>
            <a:off x="4738133" y="166631"/>
            <a:ext cx="1327846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1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7955F57C-4BE8-5214-94BE-2C1D92F2CE5F}"/>
              </a:ext>
            </a:extLst>
          </p:cNvPr>
          <p:cNvSpPr>
            <a:spLocks/>
          </p:cNvSpPr>
          <p:nvPr/>
        </p:nvSpPr>
        <p:spPr>
          <a:xfrm>
            <a:off x="2638374" y="126524"/>
            <a:ext cx="134408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2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FA965166-E611-AD54-4B78-8BC9EC51B60A}"/>
              </a:ext>
            </a:extLst>
          </p:cNvPr>
          <p:cNvSpPr>
            <a:spLocks/>
          </p:cNvSpPr>
          <p:nvPr/>
        </p:nvSpPr>
        <p:spPr>
          <a:xfrm>
            <a:off x="657311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حص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AC05F5E7-A446-A764-A157-6DDA0013F18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992" y="690243"/>
            <a:ext cx="847392" cy="8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176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xmlns="" id="{5B4AE278-DF46-4A21-C1D7-E90EB0C3EB7B}"/>
              </a:ext>
            </a:extLst>
          </p:cNvPr>
          <p:cNvSpPr txBox="1"/>
          <p:nvPr/>
        </p:nvSpPr>
        <p:spPr>
          <a:xfrm>
            <a:off x="1681258" y="140194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MA"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بناء على إنجازات المتعلمين خلال الممارسة المستقلة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D47C1E3-1B7F-A87E-8B36-0B2CCD4ED51E}"/>
              </a:ext>
            </a:extLst>
          </p:cNvPr>
          <p:cNvSpPr txBox="1"/>
          <p:nvPr/>
        </p:nvSpPr>
        <p:spPr>
          <a:xfrm>
            <a:off x="1749352" y="402546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سجل النسبة على صفحة اليوم من مذكرة الأستاذ.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xmlns="" id="{04FFAC5B-3A94-CF60-E0F3-FB44EA96AD01}"/>
              </a:ext>
            </a:extLst>
          </p:cNvPr>
          <p:cNvGrpSpPr/>
          <p:nvPr/>
        </p:nvGrpSpPr>
        <p:grpSpPr>
          <a:xfrm>
            <a:off x="1292094" y="2839748"/>
            <a:ext cx="6696000" cy="890781"/>
            <a:chOff x="1331545" y="2851205"/>
            <a:chExt cx="6696000" cy="890781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xmlns="" id="{D29A9D9E-DA16-02EB-A182-E2D45A811C0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F450F678-FB89-B61B-431D-D2EE915D0630}"/>
                </a:ext>
              </a:extLst>
            </p:cNvPr>
            <p:cNvSpPr/>
            <p:nvPr/>
          </p:nvSpPr>
          <p:spPr>
            <a:xfrm>
              <a:off x="1438551" y="3070709"/>
              <a:ext cx="489625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ما تقديرك لنسبة التحكم في هدف الدرس؟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92513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FE47FD2-AE95-45EB-534C-C3ECC785C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74BF7CFD-E1F1-792A-0745-BA1D484AA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ني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D7513D0-7383-11B7-94C6-697659C809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06228666-9B47-5F72-D5E6-137EDB2C7A6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1B949FFA-F805-D4B1-A26E-E369D5BB535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6440DE7C-099A-B6AB-CA72-2F570AB13F1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8762F98-199C-2CD4-C20C-8C2BAF0FC45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D18D698-0396-1A0F-00E1-BF439E97C6C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C975FDE-D688-E805-EC3C-C8FFDCFD240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363566D-327D-F814-3F05-4F0820F3BB3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xmlns="" id="{300AE51D-1FF0-4B58-0DF7-63A14A1288A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2" name="Google Shape;452;p158">
            <a:extLst>
              <a:ext uri="{FF2B5EF4-FFF2-40B4-BE49-F238E27FC236}">
                <a16:creationId xmlns:a16="http://schemas.microsoft.com/office/drawing/2014/main" xmlns="" id="{7238505B-2D51-E9B8-150E-891559D49938}"/>
              </a:ext>
            </a:extLst>
          </p:cNvPr>
          <p:cNvSpPr txBox="1"/>
          <p:nvPr/>
        </p:nvSpPr>
        <p:spPr>
          <a:xfrm>
            <a:off x="922235" y="3313841"/>
            <a:ext cx="7086982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أَكْتُبُ </a:t>
            </a:r>
            <a:r>
              <a:rPr lang="ar-MA" b="1" dirty="0">
                <a:solidFill>
                  <a:srgbClr val="424D7C"/>
                </a:solidFill>
                <a:sym typeface="Sakkal Majalla"/>
              </a:rPr>
              <a:t>جُمْلَةً فِعْلِيَّةً تَتَضَمَّنُ فِعْلاً لازِماً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8308443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30173F8-6D1E-93DD-646F-C35A31032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D60F2236-25B4-62C1-9623-B68DD6378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لث .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418230F0-8628-D991-DA3F-0487A16925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1DFA21EA-B179-13C6-C157-B83825E262F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C43B94A-3E64-1B67-AF52-776D818F890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634B04F0-9B3B-1C3D-8BCB-61EF3BCDC66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CC158E8-DC9F-DE4F-3791-FB6732315BB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F850EC3-32D8-F02F-C362-A79401A0DE0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10D5D7E-3E63-E251-D89F-178FAFCF5CA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D25FB51F-3D77-C9E6-BA4D-3C68A1AD0CD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xmlns="" id="{304B41D3-09C3-C8CA-B026-ABA0A2DE2F7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xmlns="" id="{D8DAAB11-5C94-2B1C-22B9-817C2A59EEC4}"/>
              </a:ext>
            </a:extLst>
          </p:cNvPr>
          <p:cNvSpPr txBox="1"/>
          <p:nvPr/>
        </p:nvSpPr>
        <p:spPr>
          <a:xfrm>
            <a:off x="922235" y="3313841"/>
            <a:ext cx="7086982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أَكْتُبُ </a:t>
            </a:r>
            <a:r>
              <a:rPr lang="ar-MA" b="1" dirty="0">
                <a:solidFill>
                  <a:srgbClr val="424D7C"/>
                </a:solidFill>
                <a:sym typeface="Sakkal Majalla"/>
              </a:rPr>
              <a:t>جُمْلَةً فِعْلِيَّةً تَتَضَمَّنُ فِعْلاً مُتَعَدّياً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034523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xmlns="" id="{65C776E2-EBEC-1C84-DDC0-0CA04883D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79347"/>
            <a:ext cx="7886700" cy="720000"/>
          </a:xfrm>
        </p:spPr>
        <p:txBody>
          <a:bodyPr/>
          <a:lstStyle/>
          <a:p>
            <a:pPr rtl="1"/>
            <a:r>
              <a:rPr lang="ar-MA" sz="5400" dirty="0">
                <a:solidFill>
                  <a:srgbClr val="424D7B"/>
                </a:solidFill>
                <a:latin typeface="Microsoft Uighur" panose="02000000000000000000" pitchFamily="2" charset="-78"/>
              </a:rPr>
              <a:t>عند نهاية رائز التحقق</a:t>
            </a:r>
            <a:endParaRPr lang="fr-MA" sz="5400" dirty="0">
              <a:solidFill>
                <a:srgbClr val="424D7B"/>
              </a:solidFill>
              <a:latin typeface="Microsoft Uighur" panose="02000000000000000000" pitchFamily="2" charset="-78"/>
            </a:endParaRPr>
          </a:p>
        </p:txBody>
      </p:sp>
      <p:sp>
        <p:nvSpPr>
          <p:cNvPr id="5" name="Google Shape;452;p158">
            <a:extLst>
              <a:ext uri="{FF2B5EF4-FFF2-40B4-BE49-F238E27FC236}">
                <a16:creationId xmlns:a16="http://schemas.microsoft.com/office/drawing/2014/main" xmlns="" id="{704BE1AA-7525-7712-CF9E-1CC63D3D82B4}"/>
              </a:ext>
            </a:extLst>
          </p:cNvPr>
          <p:cNvSpPr txBox="1"/>
          <p:nvPr/>
        </p:nvSpPr>
        <p:spPr>
          <a:xfrm>
            <a:off x="5123949" y="2446331"/>
            <a:ext cx="3149266" cy="646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سبة التحكم أقل من</a:t>
            </a:r>
            <a:r>
              <a:rPr kumimoji="0" lang="fr-FR" sz="32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fr-FR" sz="3200" dirty="0">
                <a:solidFill>
                  <a:prstClr val="black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6" name="Google Shape;452;p158">
            <a:extLst>
              <a:ext uri="{FF2B5EF4-FFF2-40B4-BE49-F238E27FC236}">
                <a16:creationId xmlns:a16="http://schemas.microsoft.com/office/drawing/2014/main" xmlns="" id="{5A1FF613-DB5A-6055-0A43-EC8D392EA43E}"/>
              </a:ext>
            </a:extLst>
          </p:cNvPr>
          <p:cNvSpPr txBox="1"/>
          <p:nvPr/>
        </p:nvSpPr>
        <p:spPr>
          <a:xfrm>
            <a:off x="4726907" y="4088198"/>
            <a:ext cx="3943350" cy="17366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إعادة نمذجة + استثمار أنشطة المراجعة في الممارسة الموجهة والممارسة المستقلة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7" name="Flèche : bas 6">
            <a:extLst>
              <a:ext uri="{FF2B5EF4-FFF2-40B4-BE49-F238E27FC236}">
                <a16:creationId xmlns:a16="http://schemas.microsoft.com/office/drawing/2014/main" xmlns="" id="{B04456D1-E9EC-5DCA-2911-B940AFCE0785}"/>
              </a:ext>
            </a:extLst>
          </p:cNvPr>
          <p:cNvSpPr/>
          <p:nvPr/>
        </p:nvSpPr>
        <p:spPr>
          <a:xfrm>
            <a:off x="6456266" y="3251052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9" name="Google Shape;452;p158">
            <a:extLst>
              <a:ext uri="{FF2B5EF4-FFF2-40B4-BE49-F238E27FC236}">
                <a16:creationId xmlns:a16="http://schemas.microsoft.com/office/drawing/2014/main" xmlns="" id="{0C9701EA-A7CB-B2F1-5E80-22F023498239}"/>
              </a:ext>
            </a:extLst>
          </p:cNvPr>
          <p:cNvSpPr txBox="1"/>
          <p:nvPr/>
        </p:nvSpPr>
        <p:spPr>
          <a:xfrm>
            <a:off x="788564" y="2478416"/>
            <a:ext cx="3149266" cy="646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سبة التحكم </a:t>
            </a:r>
            <a:r>
              <a:rPr lang="fr-FR" sz="3200" dirty="0">
                <a:solidFill>
                  <a:prstClr val="black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وأكثر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0" name="Google Shape;452;p158">
            <a:extLst>
              <a:ext uri="{FF2B5EF4-FFF2-40B4-BE49-F238E27FC236}">
                <a16:creationId xmlns:a16="http://schemas.microsoft.com/office/drawing/2014/main" xmlns="" id="{C5D1C612-4530-BE97-EAE0-E8B89DBDF1B6}"/>
              </a:ext>
            </a:extLst>
          </p:cNvPr>
          <p:cNvSpPr txBox="1"/>
          <p:nvPr/>
        </p:nvSpPr>
        <p:spPr>
          <a:xfrm>
            <a:off x="391522" y="4120283"/>
            <a:ext cx="3943350" cy="119177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ستثمار الأنشطة للدعم والإغناء.</a:t>
            </a: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ممارسة مستقلة لجميع الأنشطة.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Flèche : bas 10">
            <a:extLst>
              <a:ext uri="{FF2B5EF4-FFF2-40B4-BE49-F238E27FC236}">
                <a16:creationId xmlns:a16="http://schemas.microsoft.com/office/drawing/2014/main" xmlns="" id="{D6E24C30-117D-C029-08B0-C6043E333A3A}"/>
              </a:ext>
            </a:extLst>
          </p:cNvPr>
          <p:cNvSpPr/>
          <p:nvPr/>
        </p:nvSpPr>
        <p:spPr>
          <a:xfrm>
            <a:off x="2120881" y="3283137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283470432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xmlns="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xmlns="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xmlns="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مراجعة وتوليف 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xmlns="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267712" y="3158999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معالجة التعثرات ودعم المكتسبات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 توليف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18A26902-CB9B-E0A7-9630-544065E8B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8925" y="956399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DAC83E64-9A79-8195-825F-D7FE2A79625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53" y="1481667"/>
            <a:ext cx="705649" cy="812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3310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43EE643-8BBE-B603-815D-8E508B9EC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363F5F5-01C0-0A4C-84E8-384D65BBC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سننجز أنشطة المراجعة و التوليف الواردة على  الصفحتين 114 و 115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76B67B5-B7F8-5860-055C-A1FF74E6818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F5B4CBC4-54DC-3E08-0138-F4A9ABA712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CB6CB7D-9FD0-A403-6CAF-E3CE02E807D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774D7200-9BDC-239F-19EE-501E862B1E6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25ACB8D-F39B-0AC0-6097-E23793A1E5A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E5561B9-A365-0FAA-3D7E-C66499C365E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E537F2B-F5E8-0DDC-0D5B-C9FE4468387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B8433FB-EB30-E5B8-FC43-4EE9BB6FDA3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xmlns="" id="{2563D113-E179-1E3D-00C3-365079C14BB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40F407E3-A83B-163D-7976-543DD49D5362}"/>
              </a:ext>
            </a:extLst>
          </p:cNvPr>
          <p:cNvGrpSpPr/>
          <p:nvPr/>
        </p:nvGrpSpPr>
        <p:grpSpPr>
          <a:xfrm>
            <a:off x="1727200" y="1913467"/>
            <a:ext cx="5825364" cy="4088336"/>
            <a:chOff x="867013" y="1502252"/>
            <a:chExt cx="6734800" cy="4823878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xmlns="" id="{672F0353-863B-1EB8-F17A-F26EDA69F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57275" y="1502252"/>
              <a:ext cx="3444538" cy="480863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xmlns="" id="{A061FA9B-A759-A525-7166-79990872F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7013" y="1502252"/>
              <a:ext cx="3429297" cy="48238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152309523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05- افتتاح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05- اختتام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8063</TotalTime>
  <Words>936</Words>
  <Application>Microsoft Office PowerPoint</Application>
  <PresentationFormat>Affichage à l'écran (4:3)</PresentationFormat>
  <Paragraphs>258</Paragraphs>
  <Slides>46</Slides>
  <Notes>0</Notes>
  <HiddenSlides>0</HiddenSlides>
  <MMClips>1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6</vt:i4>
      </vt:variant>
    </vt:vector>
  </HeadingPairs>
  <TitlesOfParts>
    <vt:vector size="69" baseType="lpstr">
      <vt:lpstr>Arial</vt:lpstr>
      <vt:lpstr>Dosis SemiBold</vt:lpstr>
      <vt:lpstr>Modern Love</vt:lpstr>
      <vt:lpstr>Calibri</vt:lpstr>
      <vt:lpstr>Dosis</vt:lpstr>
      <vt:lpstr>Times New Roman</vt:lpstr>
      <vt:lpstr>Calibri Light</vt:lpstr>
      <vt:lpstr>Wingdings</vt:lpstr>
      <vt:lpstr>Sakkal Majalla</vt:lpstr>
      <vt:lpstr>Dosis ExtraBold</vt:lpstr>
      <vt:lpstr>MingLiU_MSCS</vt:lpstr>
      <vt:lpstr>Microsoft Uighur</vt:lpstr>
      <vt:lpstr>Dosis Medium</vt:lpstr>
      <vt:lpstr>3_Simple Light</vt:lpstr>
      <vt:lpstr>01- نشاط اعتيادي</vt:lpstr>
      <vt:lpstr>2_Thème Office</vt:lpstr>
      <vt:lpstr>3_Env-Enseignant</vt:lpstr>
      <vt:lpstr>1_01- نشاط اعتيادي</vt:lpstr>
      <vt:lpstr>1_Env-Enseignant</vt:lpstr>
      <vt:lpstr>3_01- نشاط اعتيادي</vt:lpstr>
      <vt:lpstr>2_05- افتتاح الحصة</vt:lpstr>
      <vt:lpstr>2_05- اختتام الحصة</vt:lpstr>
      <vt:lpstr>think-cell Slide</vt:lpstr>
      <vt:lpstr>Présentation PowerPoint</vt:lpstr>
      <vt:lpstr>خدوا كراساتكم . الصفحة 114. سأتحقق من درجة تحكمكم من بعض التعلمات.</vt:lpstr>
      <vt:lpstr>على ألواحكم أجيبوا عن الأسئلة التالية من خلال النص. سأسجل نسبة التحكم</vt:lpstr>
      <vt:lpstr>السؤال الأول: ابحثوا  عن السبب أو النتيجة .  معكم دقيقتين للإجابة. </vt:lpstr>
      <vt:lpstr>السؤال الثاني. </vt:lpstr>
      <vt:lpstr>السؤال الثالث .</vt:lpstr>
      <vt:lpstr>عند نهاية رائز التحقق</vt:lpstr>
      <vt:lpstr>مراجعة وتوليف </vt:lpstr>
      <vt:lpstr>خدوا كراساتكم . سننجز أنشطة المراجعة و التوليف الواردة على  الصفحتين 114 و 115</vt:lpstr>
      <vt:lpstr>اِقرؤوا النص والفقرة  قراءة صامتة ؛لتتمكنوا من الإجابة عن أسئلة. </vt:lpstr>
      <vt:lpstr>النشاط الأول:  اضبطوا كلمات الفقرة بالشكل التام. تكتب الفقرة على السبورة.</vt:lpstr>
      <vt:lpstr>سأمر بين الصفوف لمساعدتكم</vt:lpstr>
      <vt:lpstr>من يصحح .</vt:lpstr>
      <vt:lpstr>صححوا أخطاءكم.</vt:lpstr>
      <vt:lpstr>الآن. ستجيبون عن أسئلة المعجم و الفهم.   لديكم 20 دقيقة للإنجاز.</vt:lpstr>
      <vt:lpstr>معكم مهلة للتفكير. سأمر بين الصفوف لتقديم المساعدة.</vt:lpstr>
      <vt:lpstr>نصحح الان. من يجيب عن السؤال الأول؟ هل أنتم متفقون ؟ </vt:lpstr>
      <vt:lpstr>صححوا.</vt:lpstr>
      <vt:lpstr>من يجيب عن السؤال الثاني؟ هل أنتم متفقون ؟ </vt:lpstr>
      <vt:lpstr>صححوا.</vt:lpstr>
      <vt:lpstr>من يجيب عن السؤال الثالث؟ هل أنتم متفقون ؟ </vt:lpstr>
      <vt:lpstr>صححوا.</vt:lpstr>
      <vt:lpstr>نواصل تصحيح أسئلة الفهم. </vt:lpstr>
      <vt:lpstr>من يجيب عن السؤال الأول؟ هل أنتم متفقون؟ </vt:lpstr>
      <vt:lpstr>صححوا.</vt:lpstr>
      <vt:lpstr>من يقدم لنا جوابه عن السؤال الثاني؟ هل أنتم متفقون؟</vt:lpstr>
      <vt:lpstr>صححوا.</vt:lpstr>
      <vt:lpstr>من يقدم لنا جوابه عن السؤال الثالث؟ هل أنتم متفقون؟</vt:lpstr>
      <vt:lpstr>صححوا.</vt:lpstr>
      <vt:lpstr>من يقدم لنا جوابه عن السؤال الرابع؟ هل أنتم متفقون؟</vt:lpstr>
      <vt:lpstr>صححوا.</vt:lpstr>
      <vt:lpstr>الآن ، أنجزوا الأنشطة التالية: معكم 10 دقائق للإنجاز</vt:lpstr>
      <vt:lpstr>سأمر بيم الصفوف لمساعدتكم</vt:lpstr>
      <vt:lpstr>نصحح الأسئلة. من يجيب؟ من يقترح جوابا آخر؟ نشاط تفاعلي</vt:lpstr>
      <vt:lpstr>إليكم هذا النموذج؟ صححوا. هناك إجابات أخرى ممكنة</vt:lpstr>
      <vt:lpstr>ورشة القراءة – القراءة الاثرائية</vt:lpstr>
      <vt:lpstr>سنواصل قراءة قصة "الجار الخائن". من منكم يذكرنا بشخصيات القصة؟</vt:lpstr>
      <vt:lpstr>منكم يحاول تذكر أحداث الحكاية اعتمادا على الصور و بطاقة القراءة ؟ </vt:lpstr>
      <vt:lpstr>ما هي توقعاتكم لنهاية القصة؟</vt:lpstr>
      <vt:lpstr>سنقرأ الجزء الأخير  من القصة. اقرؤوا قراءة صامتة</vt:lpstr>
      <vt:lpstr>سنقرأ الجزء الأخير  من القصة. اقرؤوا قراءة صامتة</vt:lpstr>
      <vt:lpstr>سنجيب جماعة عن الأسئلة التالية.</vt:lpstr>
      <vt:lpstr>دونوا هذه الخريطة الذهنية على دفاتر البحث. أنجزوا المطلوب في منازلكم.</vt:lpstr>
      <vt:lpstr>Présentation PowerPoint</vt:lpstr>
      <vt:lpstr>إلى اللقاء في الحصة المقبلة </vt:lpstr>
      <vt:lpstr>Présentation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HAMDOUNI BTIHAJ</dc:creator>
  <cp:lastModifiedBy>HP</cp:lastModifiedBy>
  <cp:revision>157</cp:revision>
  <dcterms:created xsi:type="dcterms:W3CDTF">2023-09-20T21:35:22Z</dcterms:created>
  <dcterms:modified xsi:type="dcterms:W3CDTF">2026-01-10T09:01:52Z</dcterms:modified>
</cp:coreProperties>
</file>